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257" r:id="rId5"/>
    <p:sldId id="256" r:id="rId6"/>
    <p:sldId id="259" r:id="rId7"/>
    <p:sldId id="260" r:id="rId8"/>
    <p:sldId id="261" r:id="rId9"/>
    <p:sldId id="265" r:id="rId10"/>
    <p:sldId id="263" r:id="rId11"/>
    <p:sldId id="264" r:id="rId12"/>
    <p:sldId id="267" r:id="rId13"/>
  </p:sldIdLst>
  <p:sldSz cx="12192000" cy="6858000"/>
  <p:notesSz cx="6858000" cy="9144000"/>
  <p:defaultTextStyle>
    <a:defPPr>
      <a:defRPr lang="en-GB"/>
    </a:defPPr>
    <a:lvl1pPr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E70BED-2FC7-483E-A079-2E85D6F44C9F}" v="166" dt="2025-09-08T18:37:51.12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00" autoAdjust="0"/>
    <p:restoredTop sz="94660"/>
  </p:normalViewPr>
  <p:slideViewPr>
    <p:cSldViewPr snapToGrid="0">
      <p:cViewPr varScale="1">
        <p:scale>
          <a:sx n="75" d="100"/>
          <a:sy n="75" d="100"/>
        </p:scale>
        <p:origin x="672" y="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 Foord" userId="d6834ee9-08ba-4aea-aced-ae8758ec2b98" providerId="ADAL" clId="{8D9D9F2A-742B-42F6-8DE0-4C4E27773B5F}"/>
    <pc:docChg chg="undo custSel addSld delSld modSld">
      <pc:chgData name="Chris Foord" userId="d6834ee9-08ba-4aea-aced-ae8758ec2b98" providerId="ADAL" clId="{8D9D9F2A-742B-42F6-8DE0-4C4E27773B5F}" dt="2025-09-08T18:37:51.129" v="2736"/>
      <pc:docMkLst>
        <pc:docMk/>
      </pc:docMkLst>
      <pc:sldChg chg="modSp mod">
        <pc:chgData name="Chris Foord" userId="d6834ee9-08ba-4aea-aced-ae8758ec2b98" providerId="ADAL" clId="{8D9D9F2A-742B-42F6-8DE0-4C4E27773B5F}" dt="2025-09-08T18:29:01.024" v="2375" actId="20577"/>
        <pc:sldMkLst>
          <pc:docMk/>
          <pc:sldMk cId="3935391511" sldId="256"/>
        </pc:sldMkLst>
        <pc:spChg chg="mod">
          <ac:chgData name="Chris Foord" userId="d6834ee9-08ba-4aea-aced-ae8758ec2b98" providerId="ADAL" clId="{8D9D9F2A-742B-42F6-8DE0-4C4E27773B5F}" dt="2025-09-08T18:23:40.193" v="282" actId="207"/>
          <ac:spMkLst>
            <pc:docMk/>
            <pc:sldMk cId="3935391511" sldId="256"/>
            <ac:spMk id="4" creationId="{00823151-BDB5-5D7E-9121-89581DD12D55}"/>
          </ac:spMkLst>
        </pc:spChg>
        <pc:spChg chg="mod">
          <ac:chgData name="Chris Foord" userId="d6834ee9-08ba-4aea-aced-ae8758ec2b98" providerId="ADAL" clId="{8D9D9F2A-742B-42F6-8DE0-4C4E27773B5F}" dt="2025-09-08T18:23:39.619" v="48" actId="207"/>
          <ac:spMkLst>
            <pc:docMk/>
            <pc:sldMk cId="3935391511" sldId="256"/>
            <ac:spMk id="6" creationId="{5A12145A-ECD3-E032-2D43-FD39997F7426}"/>
          </ac:spMkLst>
        </pc:spChg>
        <pc:spChg chg="mod">
          <ac:chgData name="Chris Foord" userId="d6834ee9-08ba-4aea-aced-ae8758ec2b98" providerId="ADAL" clId="{8D9D9F2A-742B-42F6-8DE0-4C4E27773B5F}" dt="2025-09-08T18:23:39.620" v="50" actId="207"/>
          <ac:spMkLst>
            <pc:docMk/>
            <pc:sldMk cId="3935391511" sldId="256"/>
            <ac:spMk id="7" creationId="{B395B368-85C6-D1F5-8D14-2B97416FA5E4}"/>
          </ac:spMkLst>
        </pc:spChg>
        <pc:spChg chg="mod">
          <ac:chgData name="Chris Foord" userId="d6834ee9-08ba-4aea-aced-ae8758ec2b98" providerId="ADAL" clId="{8D9D9F2A-742B-42F6-8DE0-4C4E27773B5F}" dt="2025-09-08T18:23:39.622" v="52" actId="207"/>
          <ac:spMkLst>
            <pc:docMk/>
            <pc:sldMk cId="3935391511" sldId="256"/>
            <ac:spMk id="8" creationId="{2F90FBAA-F8A3-62A5-3E87-A08564952C9D}"/>
          </ac:spMkLst>
        </pc:spChg>
        <pc:spChg chg="mod">
          <ac:chgData name="Chris Foord" userId="d6834ee9-08ba-4aea-aced-ae8758ec2b98" providerId="ADAL" clId="{8D9D9F2A-742B-42F6-8DE0-4C4E27773B5F}" dt="2025-09-08T18:23:39.623" v="54" actId="207"/>
          <ac:spMkLst>
            <pc:docMk/>
            <pc:sldMk cId="3935391511" sldId="256"/>
            <ac:spMk id="9" creationId="{7DA79914-2B99-AD4B-32DC-E696A9C5BDE1}"/>
          </ac:spMkLst>
        </pc:spChg>
        <pc:spChg chg="mod">
          <ac:chgData name="Chris Foord" userId="d6834ee9-08ba-4aea-aced-ae8758ec2b98" providerId="ADAL" clId="{8D9D9F2A-742B-42F6-8DE0-4C4E27773B5F}" dt="2025-09-08T18:23:40.224" v="348"/>
          <ac:spMkLst>
            <pc:docMk/>
            <pc:sldMk cId="3935391511" sldId="256"/>
            <ac:spMk id="10" creationId="{8382796A-62D5-E40D-BDA1-88182DE15FC1}"/>
          </ac:spMkLst>
        </pc:spChg>
        <pc:spChg chg="mod">
          <ac:chgData name="Chris Foord" userId="d6834ee9-08ba-4aea-aced-ae8758ec2b98" providerId="ADAL" clId="{8D9D9F2A-742B-42F6-8DE0-4C4E27773B5F}" dt="2025-09-08T18:23:40.263" v="392" actId="207"/>
          <ac:spMkLst>
            <pc:docMk/>
            <pc:sldMk cId="3935391511" sldId="256"/>
            <ac:spMk id="11" creationId="{3F9A3DB1-AE0F-D1CC-6094-8B9FAF4E13B2}"/>
          </ac:spMkLst>
        </pc:spChg>
        <pc:spChg chg="mod">
          <ac:chgData name="Chris Foord" userId="d6834ee9-08ba-4aea-aced-ae8758ec2b98" providerId="ADAL" clId="{8D9D9F2A-742B-42F6-8DE0-4C4E27773B5F}" dt="2025-09-08T18:23:40.304" v="451" actId="207"/>
          <ac:spMkLst>
            <pc:docMk/>
            <pc:sldMk cId="3935391511" sldId="256"/>
            <ac:spMk id="12" creationId="{A340D001-9AF3-FD5E-06F0-13D90DC871AF}"/>
          </ac:spMkLst>
        </pc:spChg>
        <pc:spChg chg="mod">
          <ac:chgData name="Chris Foord" userId="d6834ee9-08ba-4aea-aced-ae8758ec2b98" providerId="ADAL" clId="{8D9D9F2A-742B-42F6-8DE0-4C4E27773B5F}" dt="2025-09-08T18:29:01.024" v="2375" actId="20577"/>
          <ac:spMkLst>
            <pc:docMk/>
            <pc:sldMk cId="3935391511" sldId="256"/>
            <ac:spMk id="13" creationId="{3FBB36D4-19BA-504E-57FC-0188C67D54B1}"/>
          </ac:spMkLst>
        </pc:spChg>
        <pc:picChg chg="mod">
          <ac:chgData name="Chris Foord" userId="d6834ee9-08ba-4aea-aced-ae8758ec2b98" providerId="ADAL" clId="{8D9D9F2A-742B-42F6-8DE0-4C4E27773B5F}" dt="2025-09-08T18:23:39.650" v="59" actId="207"/>
          <ac:picMkLst>
            <pc:docMk/>
            <pc:sldMk cId="3935391511" sldId="256"/>
            <ac:picMk id="19" creationId="{D10FF494-5F16-CB89-8453-6CFCFE140413}"/>
          </ac:picMkLst>
        </pc:picChg>
        <pc:picChg chg="mod">
          <ac:chgData name="Chris Foord" userId="d6834ee9-08ba-4aea-aced-ae8758ec2b98" providerId="ADAL" clId="{8D9D9F2A-742B-42F6-8DE0-4C4E27773B5F}" dt="2025-09-08T18:23:39.654" v="60" actId="207"/>
          <ac:picMkLst>
            <pc:docMk/>
            <pc:sldMk cId="3935391511" sldId="256"/>
            <ac:picMk id="21" creationId="{E8C79EB7-78DD-66A9-BD7C-581438D17A34}"/>
          </ac:picMkLst>
        </pc:picChg>
        <pc:picChg chg="mod">
          <ac:chgData name="Chris Foord" userId="d6834ee9-08ba-4aea-aced-ae8758ec2b98" providerId="ADAL" clId="{8D9D9F2A-742B-42F6-8DE0-4C4E27773B5F}" dt="2025-09-08T18:23:39.656" v="61" actId="207"/>
          <ac:picMkLst>
            <pc:docMk/>
            <pc:sldMk cId="3935391511" sldId="256"/>
            <ac:picMk id="23" creationId="{2BEBA047-5C06-8F94-21FA-DA8A538AC5E8}"/>
          </ac:picMkLst>
        </pc:picChg>
        <pc:picChg chg="mod">
          <ac:chgData name="Chris Foord" userId="d6834ee9-08ba-4aea-aced-ae8758ec2b98" providerId="ADAL" clId="{8D9D9F2A-742B-42F6-8DE0-4C4E27773B5F}" dt="2025-09-08T18:23:39.658" v="62" actId="207"/>
          <ac:picMkLst>
            <pc:docMk/>
            <pc:sldMk cId="3935391511" sldId="256"/>
            <ac:picMk id="25" creationId="{19141C3E-8AAD-DCFF-09FA-91A80E236F15}"/>
          </ac:picMkLst>
        </pc:picChg>
      </pc:sldChg>
      <pc:sldChg chg="addSp delSp modSp mod">
        <pc:chgData name="Chris Foord" userId="d6834ee9-08ba-4aea-aced-ae8758ec2b98" providerId="ADAL" clId="{8D9D9F2A-742B-42F6-8DE0-4C4E27773B5F}" dt="2025-09-08T18:26:30.679" v="2278" actId="552"/>
        <pc:sldMkLst>
          <pc:docMk/>
          <pc:sldMk cId="3913285942" sldId="257"/>
        </pc:sldMkLst>
        <pc:spChg chg="mod">
          <ac:chgData name="Chris Foord" userId="d6834ee9-08ba-4aea-aced-ae8758ec2b98" providerId="ADAL" clId="{8D9D9F2A-742B-42F6-8DE0-4C4E27773B5F}" dt="2025-09-08T18:26:30.679" v="2278" actId="552"/>
          <ac:spMkLst>
            <pc:docMk/>
            <pc:sldMk cId="3913285942" sldId="257"/>
            <ac:spMk id="2" creationId="{7719E575-F674-086B-B498-CE28798C2FDB}"/>
          </ac:spMkLst>
        </pc:spChg>
        <pc:spChg chg="mod">
          <ac:chgData name="Chris Foord" userId="d6834ee9-08ba-4aea-aced-ae8758ec2b98" providerId="ADAL" clId="{8D9D9F2A-742B-42F6-8DE0-4C4E27773B5F}" dt="2025-09-08T18:26:30.679" v="2278" actId="552"/>
          <ac:spMkLst>
            <pc:docMk/>
            <pc:sldMk cId="3913285942" sldId="257"/>
            <ac:spMk id="3" creationId="{B061A9D2-65D1-0CE1-4C68-AED835599881}"/>
          </ac:spMkLst>
        </pc:spChg>
        <pc:spChg chg="mod">
          <ac:chgData name="Chris Foord" userId="d6834ee9-08ba-4aea-aced-ae8758ec2b98" providerId="ADAL" clId="{8D9D9F2A-742B-42F6-8DE0-4C4E27773B5F}" dt="2025-09-08T18:26:30.679" v="2278" actId="552"/>
          <ac:spMkLst>
            <pc:docMk/>
            <pc:sldMk cId="3913285942" sldId="257"/>
            <ac:spMk id="4" creationId="{5E847DBB-FA29-9278-AD0C-82FB07EEAD98}"/>
          </ac:spMkLst>
        </pc:spChg>
        <pc:picChg chg="add del mod">
          <ac:chgData name="Chris Foord" userId="d6834ee9-08ba-4aea-aced-ae8758ec2b98" providerId="ADAL" clId="{8D9D9F2A-742B-42F6-8DE0-4C4E27773B5F}" dt="2025-09-08T18:26:06.134" v="2276" actId="478"/>
          <ac:picMkLst>
            <pc:docMk/>
            <pc:sldMk cId="3913285942" sldId="257"/>
            <ac:picMk id="5" creationId="{84D9F107-1574-8DDD-0DA2-F86E439D05C5}"/>
          </ac:picMkLst>
        </pc:picChg>
        <pc:picChg chg="del">
          <ac:chgData name="Chris Foord" userId="d6834ee9-08ba-4aea-aced-ae8758ec2b98" providerId="ADAL" clId="{8D9D9F2A-742B-42F6-8DE0-4C4E27773B5F}" dt="2025-09-08T18:23:19.751" v="0" actId="478"/>
          <ac:picMkLst>
            <pc:docMk/>
            <pc:sldMk cId="3913285942" sldId="257"/>
            <ac:picMk id="6" creationId="{37192CB8-DE68-69A0-443A-DB7BB2A07C4A}"/>
          </ac:picMkLst>
        </pc:picChg>
      </pc:sldChg>
      <pc:sldChg chg="modSp mod">
        <pc:chgData name="Chris Foord" userId="d6834ee9-08ba-4aea-aced-ae8758ec2b98" providerId="ADAL" clId="{8D9D9F2A-742B-42F6-8DE0-4C4E27773B5F}" dt="2025-09-08T18:23:40.547" v="768" actId="207"/>
        <pc:sldMkLst>
          <pc:docMk/>
          <pc:sldMk cId="3291018603" sldId="259"/>
        </pc:sldMkLst>
        <pc:spChg chg="mod">
          <ac:chgData name="Chris Foord" userId="d6834ee9-08ba-4aea-aced-ae8758ec2b98" providerId="ADAL" clId="{8D9D9F2A-742B-42F6-8DE0-4C4E27773B5F}" dt="2025-09-08T18:23:40.370" v="538" actId="207"/>
          <ac:spMkLst>
            <pc:docMk/>
            <pc:sldMk cId="3291018603" sldId="259"/>
            <ac:spMk id="2" creationId="{7130996E-3A5B-0B58-8CE3-E53CA9C7DA81}"/>
          </ac:spMkLst>
        </pc:spChg>
        <pc:spChg chg="mod">
          <ac:chgData name="Chris Foord" userId="d6834ee9-08ba-4aea-aced-ae8758ec2b98" providerId="ADAL" clId="{8D9D9F2A-742B-42F6-8DE0-4C4E27773B5F}" dt="2025-09-08T18:23:39.662" v="65" actId="207"/>
          <ac:spMkLst>
            <pc:docMk/>
            <pc:sldMk cId="3291018603" sldId="259"/>
            <ac:spMk id="4" creationId="{1AFBCD89-EB08-1A73-39CF-980732A24FB8}"/>
          </ac:spMkLst>
        </pc:spChg>
        <pc:spChg chg="mod">
          <ac:chgData name="Chris Foord" userId="d6834ee9-08ba-4aea-aced-ae8758ec2b98" providerId="ADAL" clId="{8D9D9F2A-742B-42F6-8DE0-4C4E27773B5F}" dt="2025-09-08T18:23:39.664" v="67" actId="207"/>
          <ac:spMkLst>
            <pc:docMk/>
            <pc:sldMk cId="3291018603" sldId="259"/>
            <ac:spMk id="5" creationId="{5A9D9E13-58C8-822B-9F02-394F76B69741}"/>
          </ac:spMkLst>
        </pc:spChg>
        <pc:spChg chg="mod">
          <ac:chgData name="Chris Foord" userId="d6834ee9-08ba-4aea-aced-ae8758ec2b98" providerId="ADAL" clId="{8D9D9F2A-742B-42F6-8DE0-4C4E27773B5F}" dt="2025-09-08T18:23:39.666" v="69" actId="207"/>
          <ac:spMkLst>
            <pc:docMk/>
            <pc:sldMk cId="3291018603" sldId="259"/>
            <ac:spMk id="6" creationId="{940C0A5D-1A63-C95B-E7BA-6E0D050E830B}"/>
          </ac:spMkLst>
        </pc:spChg>
        <pc:spChg chg="mod">
          <ac:chgData name="Chris Foord" userId="d6834ee9-08ba-4aea-aced-ae8758ec2b98" providerId="ADAL" clId="{8D9D9F2A-742B-42F6-8DE0-4C4E27773B5F}" dt="2025-09-08T18:23:39.668" v="71" actId="207"/>
          <ac:spMkLst>
            <pc:docMk/>
            <pc:sldMk cId="3291018603" sldId="259"/>
            <ac:spMk id="7" creationId="{FF26BB8B-EB1A-CC2C-4EE2-7AEC61BD9236}"/>
          </ac:spMkLst>
        </pc:spChg>
        <pc:spChg chg="mod">
          <ac:chgData name="Chris Foord" userId="d6834ee9-08ba-4aea-aced-ae8758ec2b98" providerId="ADAL" clId="{8D9D9F2A-742B-42F6-8DE0-4C4E27773B5F}" dt="2025-09-08T18:23:40.418" v="600" actId="207"/>
          <ac:spMkLst>
            <pc:docMk/>
            <pc:sldMk cId="3291018603" sldId="259"/>
            <ac:spMk id="8" creationId="{05BB80A6-8F4D-F15A-A677-D789A003CAF7}"/>
          </ac:spMkLst>
        </pc:spChg>
        <pc:spChg chg="mod">
          <ac:chgData name="Chris Foord" userId="d6834ee9-08ba-4aea-aced-ae8758ec2b98" providerId="ADAL" clId="{8D9D9F2A-742B-42F6-8DE0-4C4E27773B5F}" dt="2025-09-08T18:23:40.439" v="629" actId="207"/>
          <ac:spMkLst>
            <pc:docMk/>
            <pc:sldMk cId="3291018603" sldId="259"/>
            <ac:spMk id="9" creationId="{F8D776BE-4364-FAD7-3719-2AA6E17A09B2}"/>
          </ac:spMkLst>
        </pc:spChg>
        <pc:spChg chg="mod">
          <ac:chgData name="Chris Foord" userId="d6834ee9-08ba-4aea-aced-ae8758ec2b98" providerId="ADAL" clId="{8D9D9F2A-742B-42F6-8DE0-4C4E27773B5F}" dt="2025-09-08T18:23:40.471" v="670" actId="207"/>
          <ac:spMkLst>
            <pc:docMk/>
            <pc:sldMk cId="3291018603" sldId="259"/>
            <ac:spMk id="10" creationId="{F23DEDCA-478C-2168-A907-DC983800E40B}"/>
          </ac:spMkLst>
        </pc:spChg>
        <pc:spChg chg="mod">
          <ac:chgData name="Chris Foord" userId="d6834ee9-08ba-4aea-aced-ae8758ec2b98" providerId="ADAL" clId="{8D9D9F2A-742B-42F6-8DE0-4C4E27773B5F}" dt="2025-09-08T18:23:40.513" v="722" actId="207"/>
          <ac:spMkLst>
            <pc:docMk/>
            <pc:sldMk cId="3291018603" sldId="259"/>
            <ac:spMk id="11" creationId="{B8A24699-7F15-6325-FFD2-926109AA2571}"/>
          </ac:spMkLst>
        </pc:spChg>
        <pc:spChg chg="mod">
          <ac:chgData name="Chris Foord" userId="d6834ee9-08ba-4aea-aced-ae8758ec2b98" providerId="ADAL" clId="{8D9D9F2A-742B-42F6-8DE0-4C4E27773B5F}" dt="2025-09-08T18:23:40.547" v="768" actId="207"/>
          <ac:spMkLst>
            <pc:docMk/>
            <pc:sldMk cId="3291018603" sldId="259"/>
            <ac:spMk id="28" creationId="{9C254E27-251E-02A3-502C-DED77540E480}"/>
          </ac:spMkLst>
        </pc:spChg>
        <pc:picChg chg="mod">
          <ac:chgData name="Chris Foord" userId="d6834ee9-08ba-4aea-aced-ae8758ec2b98" providerId="ADAL" clId="{8D9D9F2A-742B-42F6-8DE0-4C4E27773B5F}" dt="2025-09-08T18:23:39.673" v="76" actId="207"/>
          <ac:picMkLst>
            <pc:docMk/>
            <pc:sldMk cId="3291018603" sldId="259"/>
            <ac:picMk id="15" creationId="{D660D15F-3FD3-CC84-A084-523B5A96DBDB}"/>
          </ac:picMkLst>
        </pc:picChg>
        <pc:picChg chg="mod">
          <ac:chgData name="Chris Foord" userId="d6834ee9-08ba-4aea-aced-ae8758ec2b98" providerId="ADAL" clId="{8D9D9F2A-742B-42F6-8DE0-4C4E27773B5F}" dt="2025-09-08T18:23:39.675" v="77" actId="207"/>
          <ac:picMkLst>
            <pc:docMk/>
            <pc:sldMk cId="3291018603" sldId="259"/>
            <ac:picMk id="21" creationId="{FA3E7802-39BC-91C0-76CC-9E87C29A94B4}"/>
          </ac:picMkLst>
        </pc:picChg>
        <pc:picChg chg="mod">
          <ac:chgData name="Chris Foord" userId="d6834ee9-08ba-4aea-aced-ae8758ec2b98" providerId="ADAL" clId="{8D9D9F2A-742B-42F6-8DE0-4C4E27773B5F}" dt="2025-09-08T18:23:39.676" v="78" actId="207"/>
          <ac:picMkLst>
            <pc:docMk/>
            <pc:sldMk cId="3291018603" sldId="259"/>
            <ac:picMk id="25" creationId="{BD446FE7-580A-F26A-66B3-2743C17EF5AC}"/>
          </ac:picMkLst>
        </pc:picChg>
        <pc:picChg chg="mod">
          <ac:chgData name="Chris Foord" userId="d6834ee9-08ba-4aea-aced-ae8758ec2b98" providerId="ADAL" clId="{8D9D9F2A-742B-42F6-8DE0-4C4E27773B5F}" dt="2025-09-08T18:23:39.677" v="79" actId="207"/>
          <ac:picMkLst>
            <pc:docMk/>
            <pc:sldMk cId="3291018603" sldId="259"/>
            <ac:picMk id="27" creationId="{10DDEC0A-6F6C-DAB5-0CA8-628A38A8C7CD}"/>
          </ac:picMkLst>
        </pc:picChg>
      </pc:sldChg>
      <pc:sldChg chg="modSp mod">
        <pc:chgData name="Chris Foord" userId="d6834ee9-08ba-4aea-aced-ae8758ec2b98" providerId="ADAL" clId="{8D9D9F2A-742B-42F6-8DE0-4C4E27773B5F}" dt="2025-09-08T18:23:40.795" v="1127" actId="207"/>
        <pc:sldMkLst>
          <pc:docMk/>
          <pc:sldMk cId="3637680394" sldId="260"/>
        </pc:sldMkLst>
        <pc:spChg chg="mod">
          <ac:chgData name="Chris Foord" userId="d6834ee9-08ba-4aea-aced-ae8758ec2b98" providerId="ADAL" clId="{8D9D9F2A-742B-42F6-8DE0-4C4E27773B5F}" dt="2025-09-08T18:23:40.572" v="803" actId="207"/>
          <ac:spMkLst>
            <pc:docMk/>
            <pc:sldMk cId="3637680394" sldId="260"/>
            <ac:spMk id="2" creationId="{35F2F020-743A-EFD9-290D-9A343E121FB1}"/>
          </ac:spMkLst>
        </pc:spChg>
        <pc:spChg chg="mod">
          <ac:chgData name="Chris Foord" userId="d6834ee9-08ba-4aea-aced-ae8758ec2b98" providerId="ADAL" clId="{8D9D9F2A-742B-42F6-8DE0-4C4E27773B5F}" dt="2025-09-08T18:23:40.623" v="876" actId="207"/>
          <ac:spMkLst>
            <pc:docMk/>
            <pc:sldMk cId="3637680394" sldId="260"/>
            <ac:spMk id="8" creationId="{D96D0CF2-CA87-656A-876D-E2FF2C4794FB}"/>
          </ac:spMkLst>
        </pc:spChg>
        <pc:spChg chg="mod">
          <ac:chgData name="Chris Foord" userId="d6834ee9-08ba-4aea-aced-ae8758ec2b98" providerId="ADAL" clId="{8D9D9F2A-742B-42F6-8DE0-4C4E27773B5F}" dt="2025-09-08T18:23:40.661" v="936" actId="207"/>
          <ac:spMkLst>
            <pc:docMk/>
            <pc:sldMk cId="3637680394" sldId="260"/>
            <ac:spMk id="10" creationId="{A9A21D21-5980-0956-F0E7-9CFBB929CF02}"/>
          </ac:spMkLst>
        </pc:spChg>
        <pc:spChg chg="mod">
          <ac:chgData name="Chris Foord" userId="d6834ee9-08ba-4aea-aced-ae8758ec2b98" providerId="ADAL" clId="{8D9D9F2A-742B-42F6-8DE0-4C4E27773B5F}" dt="2025-09-08T18:23:39.685" v="85" actId="207"/>
          <ac:spMkLst>
            <pc:docMk/>
            <pc:sldMk cId="3637680394" sldId="260"/>
            <ac:spMk id="11" creationId="{C68178CB-71AF-BB9A-7171-5078E27D326E}"/>
          </ac:spMkLst>
        </pc:spChg>
        <pc:spChg chg="mod">
          <ac:chgData name="Chris Foord" userId="d6834ee9-08ba-4aea-aced-ae8758ec2b98" providerId="ADAL" clId="{8D9D9F2A-742B-42F6-8DE0-4C4E27773B5F}" dt="2025-09-08T18:23:39.687" v="87" actId="207"/>
          <ac:spMkLst>
            <pc:docMk/>
            <pc:sldMk cId="3637680394" sldId="260"/>
            <ac:spMk id="12" creationId="{7C6E1B43-0630-1005-C8B7-143720CFE2FB}"/>
          </ac:spMkLst>
        </pc:spChg>
        <pc:spChg chg="mod">
          <ac:chgData name="Chris Foord" userId="d6834ee9-08ba-4aea-aced-ae8758ec2b98" providerId="ADAL" clId="{8D9D9F2A-742B-42F6-8DE0-4C4E27773B5F}" dt="2025-09-08T18:23:39.689" v="89" actId="207"/>
          <ac:spMkLst>
            <pc:docMk/>
            <pc:sldMk cId="3637680394" sldId="260"/>
            <ac:spMk id="13" creationId="{5C914274-FA96-181F-5A58-207755C876D7}"/>
          </ac:spMkLst>
        </pc:spChg>
        <pc:spChg chg="mod">
          <ac:chgData name="Chris Foord" userId="d6834ee9-08ba-4aea-aced-ae8758ec2b98" providerId="ADAL" clId="{8D9D9F2A-742B-42F6-8DE0-4C4E27773B5F}" dt="2025-09-08T18:23:40.697" v="983" actId="207"/>
          <ac:spMkLst>
            <pc:docMk/>
            <pc:sldMk cId="3637680394" sldId="260"/>
            <ac:spMk id="14" creationId="{0AEC5622-20E4-EC30-39CE-79C1FB79B054}"/>
          </ac:spMkLst>
        </pc:spChg>
        <pc:spChg chg="mod">
          <ac:chgData name="Chris Foord" userId="d6834ee9-08ba-4aea-aced-ae8758ec2b98" providerId="ADAL" clId="{8D9D9F2A-742B-42F6-8DE0-4C4E27773B5F}" dt="2025-09-08T18:23:40.744" v="1051" actId="207"/>
          <ac:spMkLst>
            <pc:docMk/>
            <pc:sldMk cId="3637680394" sldId="260"/>
            <ac:spMk id="15" creationId="{3DD4A5BF-F6A5-702D-A36A-D9E031C57656}"/>
          </ac:spMkLst>
        </pc:spChg>
        <pc:spChg chg="mod">
          <ac:chgData name="Chris Foord" userId="d6834ee9-08ba-4aea-aced-ae8758ec2b98" providerId="ADAL" clId="{8D9D9F2A-742B-42F6-8DE0-4C4E27773B5F}" dt="2025-09-08T18:23:40.795" v="1127" actId="207"/>
          <ac:spMkLst>
            <pc:docMk/>
            <pc:sldMk cId="3637680394" sldId="260"/>
            <ac:spMk id="16" creationId="{F0898506-294E-20B6-5F9D-A49097AE6FB3}"/>
          </ac:spMkLst>
        </pc:spChg>
      </pc:sldChg>
      <pc:sldChg chg="modSp mod">
        <pc:chgData name="Chris Foord" userId="d6834ee9-08ba-4aea-aced-ae8758ec2b98" providerId="ADAL" clId="{8D9D9F2A-742B-42F6-8DE0-4C4E27773B5F}" dt="2025-09-08T18:31:56.020" v="2453" actId="20577"/>
        <pc:sldMkLst>
          <pc:docMk/>
          <pc:sldMk cId="3687429053" sldId="261"/>
        </pc:sldMkLst>
        <pc:spChg chg="mod">
          <ac:chgData name="Chris Foord" userId="d6834ee9-08ba-4aea-aced-ae8758ec2b98" providerId="ADAL" clId="{8D9D9F2A-742B-42F6-8DE0-4C4E27773B5F}" dt="2025-09-08T18:23:40.818" v="1165" actId="207"/>
          <ac:spMkLst>
            <pc:docMk/>
            <pc:sldMk cId="3687429053" sldId="261"/>
            <ac:spMk id="2" creationId="{21237BB0-1B81-009C-A9D3-1CAB51686115}"/>
          </ac:spMkLst>
        </pc:spChg>
        <pc:spChg chg="mod">
          <ac:chgData name="Chris Foord" userId="d6834ee9-08ba-4aea-aced-ae8758ec2b98" providerId="ADAL" clId="{8D9D9F2A-742B-42F6-8DE0-4C4E27773B5F}" dt="2025-09-08T18:23:40.858" v="1227" actId="207"/>
          <ac:spMkLst>
            <pc:docMk/>
            <pc:sldMk cId="3687429053" sldId="261"/>
            <ac:spMk id="8" creationId="{563E3084-3D58-35C2-3470-203AEA32EF65}"/>
          </ac:spMkLst>
        </pc:spChg>
        <pc:spChg chg="mod">
          <ac:chgData name="Chris Foord" userId="d6834ee9-08ba-4aea-aced-ae8758ec2b98" providerId="ADAL" clId="{8D9D9F2A-742B-42F6-8DE0-4C4E27773B5F}" dt="2025-09-08T18:23:40.911" v="1307" actId="207"/>
          <ac:spMkLst>
            <pc:docMk/>
            <pc:sldMk cId="3687429053" sldId="261"/>
            <ac:spMk id="9" creationId="{3CAF45EA-3921-0CD1-EB71-FD399532BE97}"/>
          </ac:spMkLst>
        </pc:spChg>
        <pc:spChg chg="mod">
          <ac:chgData name="Chris Foord" userId="d6834ee9-08ba-4aea-aced-ae8758ec2b98" providerId="ADAL" clId="{8D9D9F2A-742B-42F6-8DE0-4C4E27773B5F}" dt="2025-09-08T18:23:40.946" v="1363" actId="207"/>
          <ac:spMkLst>
            <pc:docMk/>
            <pc:sldMk cId="3687429053" sldId="261"/>
            <ac:spMk id="10" creationId="{DEF739D9-FDE0-CCB7-8C59-99539B2968D6}"/>
          </ac:spMkLst>
        </pc:spChg>
        <pc:spChg chg="mod">
          <ac:chgData name="Chris Foord" userId="d6834ee9-08ba-4aea-aced-ae8758ec2b98" providerId="ADAL" clId="{8D9D9F2A-742B-42F6-8DE0-4C4E27773B5F}" dt="2025-09-08T18:23:40.974" v="1408" actId="207"/>
          <ac:spMkLst>
            <pc:docMk/>
            <pc:sldMk cId="3687429053" sldId="261"/>
            <ac:spMk id="11" creationId="{426AC8C9-19A0-9600-779B-04AF5E30FC03}"/>
          </ac:spMkLst>
        </pc:spChg>
        <pc:spChg chg="mod">
          <ac:chgData name="Chris Foord" userId="d6834ee9-08ba-4aea-aced-ae8758ec2b98" providerId="ADAL" clId="{8D9D9F2A-742B-42F6-8DE0-4C4E27773B5F}" dt="2025-09-08T18:31:56.020" v="2453" actId="20577"/>
          <ac:spMkLst>
            <pc:docMk/>
            <pc:sldMk cId="3687429053" sldId="261"/>
            <ac:spMk id="23" creationId="{E65D0586-4042-97B7-0A6F-5D5BB7A72699}"/>
          </ac:spMkLst>
        </pc:spChg>
        <pc:picChg chg="mod">
          <ac:chgData name="Chris Foord" userId="d6834ee9-08ba-4aea-aced-ae8758ec2b98" providerId="ADAL" clId="{8D9D9F2A-742B-42F6-8DE0-4C4E27773B5F}" dt="2025-09-08T18:23:39.700" v="98" actId="207"/>
          <ac:picMkLst>
            <pc:docMk/>
            <pc:sldMk cId="3687429053" sldId="261"/>
            <ac:picMk id="17" creationId="{A74D0006-68BF-B862-7E11-E7CD45AE1469}"/>
          </ac:picMkLst>
        </pc:picChg>
        <pc:picChg chg="mod">
          <ac:chgData name="Chris Foord" userId="d6834ee9-08ba-4aea-aced-ae8758ec2b98" providerId="ADAL" clId="{8D9D9F2A-742B-42F6-8DE0-4C4E27773B5F}" dt="2025-09-08T18:23:39.702" v="99" actId="207"/>
          <ac:picMkLst>
            <pc:docMk/>
            <pc:sldMk cId="3687429053" sldId="261"/>
            <ac:picMk id="19" creationId="{EA6A5B35-E619-EB6D-6FAE-47D6E2430D78}"/>
          </ac:picMkLst>
        </pc:picChg>
        <pc:picChg chg="mod">
          <ac:chgData name="Chris Foord" userId="d6834ee9-08ba-4aea-aced-ae8758ec2b98" providerId="ADAL" clId="{8D9D9F2A-742B-42F6-8DE0-4C4E27773B5F}" dt="2025-09-08T18:23:39.703" v="100" actId="207"/>
          <ac:picMkLst>
            <pc:docMk/>
            <pc:sldMk cId="3687429053" sldId="261"/>
            <ac:picMk id="21" creationId="{A0CD41BD-53B3-D5FA-7236-7868790182FA}"/>
          </ac:picMkLst>
        </pc:picChg>
      </pc:sldChg>
      <pc:sldChg chg="delSp modSp mod">
        <pc:chgData name="Chris Foord" userId="d6834ee9-08ba-4aea-aced-ae8758ec2b98" providerId="ADAL" clId="{8D9D9F2A-742B-42F6-8DE0-4C4E27773B5F}" dt="2025-09-08T18:35:17.495" v="2483" actId="113"/>
        <pc:sldMkLst>
          <pc:docMk/>
          <pc:sldMk cId="1865783291" sldId="263"/>
        </pc:sldMkLst>
        <pc:spChg chg="mod">
          <ac:chgData name="Chris Foord" userId="d6834ee9-08ba-4aea-aced-ae8758ec2b98" providerId="ADAL" clId="{8D9D9F2A-742B-42F6-8DE0-4C4E27773B5F}" dt="2025-09-08T18:23:41.205" v="1742" actId="207"/>
          <ac:spMkLst>
            <pc:docMk/>
            <pc:sldMk cId="1865783291" sldId="263"/>
            <ac:spMk id="2" creationId="{BC482C62-4D61-5F56-DA87-61013DFD4850}"/>
          </ac:spMkLst>
        </pc:spChg>
        <pc:spChg chg="mod">
          <ac:chgData name="Chris Foord" userId="d6834ee9-08ba-4aea-aced-ae8758ec2b98" providerId="ADAL" clId="{8D9D9F2A-742B-42F6-8DE0-4C4E27773B5F}" dt="2025-09-08T18:34:51.686" v="2471" actId="113"/>
          <ac:spMkLst>
            <pc:docMk/>
            <pc:sldMk cId="1865783291" sldId="263"/>
            <ac:spMk id="16" creationId="{3DC57891-80BF-93A6-C384-C42B001E71B6}"/>
          </ac:spMkLst>
        </pc:spChg>
        <pc:spChg chg="mod">
          <ac:chgData name="Chris Foord" userId="d6834ee9-08ba-4aea-aced-ae8758ec2b98" providerId="ADAL" clId="{8D9D9F2A-742B-42F6-8DE0-4C4E27773B5F}" dt="2025-09-08T18:35:02.052" v="2482" actId="113"/>
          <ac:spMkLst>
            <pc:docMk/>
            <pc:sldMk cId="1865783291" sldId="263"/>
            <ac:spMk id="17" creationId="{383CC7FD-5FB0-B097-F07E-B194B6A9C68F}"/>
          </ac:spMkLst>
        </pc:spChg>
        <pc:spChg chg="del mod">
          <ac:chgData name="Chris Foord" userId="d6834ee9-08ba-4aea-aced-ae8758ec2b98" providerId="ADAL" clId="{8D9D9F2A-742B-42F6-8DE0-4C4E27773B5F}" dt="2025-09-08T18:33:30.166" v="2459" actId="478"/>
          <ac:spMkLst>
            <pc:docMk/>
            <pc:sldMk cId="1865783291" sldId="263"/>
            <ac:spMk id="18" creationId="{50D4183A-77AF-30CB-DE57-742B1DB71735}"/>
          </ac:spMkLst>
        </pc:spChg>
        <pc:spChg chg="mod">
          <ac:chgData name="Chris Foord" userId="d6834ee9-08ba-4aea-aced-ae8758ec2b98" providerId="ADAL" clId="{8D9D9F2A-742B-42F6-8DE0-4C4E27773B5F}" dt="2025-09-08T18:35:17.495" v="2483" actId="113"/>
          <ac:spMkLst>
            <pc:docMk/>
            <pc:sldMk cId="1865783291" sldId="263"/>
            <ac:spMk id="19" creationId="{344CFDA7-43E6-1480-0F73-0A03ABFE04F2}"/>
          </ac:spMkLst>
        </pc:spChg>
        <pc:picChg chg="mod">
          <ac:chgData name="Chris Foord" userId="d6834ee9-08ba-4aea-aced-ae8758ec2b98" providerId="ADAL" clId="{8D9D9F2A-742B-42F6-8DE0-4C4E27773B5F}" dt="2025-09-08T18:33:57.682" v="2463" actId="1076"/>
          <ac:picMkLst>
            <pc:docMk/>
            <pc:sldMk cId="1865783291" sldId="263"/>
            <ac:picMk id="9" creationId="{C293FFEE-3B04-792A-C918-FBD84A72D247}"/>
          </ac:picMkLst>
        </pc:picChg>
        <pc:picChg chg="mod">
          <ac:chgData name="Chris Foord" userId="d6834ee9-08ba-4aea-aced-ae8758ec2b98" providerId="ADAL" clId="{8D9D9F2A-742B-42F6-8DE0-4C4E27773B5F}" dt="2025-09-08T18:33:37.353" v="2460" actId="1076"/>
          <ac:picMkLst>
            <pc:docMk/>
            <pc:sldMk cId="1865783291" sldId="263"/>
            <ac:picMk id="11" creationId="{A9178033-24BA-D67C-9DE6-AC442554BF25}"/>
          </ac:picMkLst>
        </pc:picChg>
        <pc:picChg chg="del">
          <ac:chgData name="Chris Foord" userId="d6834ee9-08ba-4aea-aced-ae8758ec2b98" providerId="ADAL" clId="{8D9D9F2A-742B-42F6-8DE0-4C4E27773B5F}" dt="2025-09-08T18:33:30.166" v="2459" actId="478"/>
          <ac:picMkLst>
            <pc:docMk/>
            <pc:sldMk cId="1865783291" sldId="263"/>
            <ac:picMk id="13" creationId="{BE8A736B-89CB-3AB4-6EE6-5D2FD0264203}"/>
          </ac:picMkLst>
        </pc:picChg>
        <pc:picChg chg="mod">
          <ac:chgData name="Chris Foord" userId="d6834ee9-08ba-4aea-aced-ae8758ec2b98" providerId="ADAL" clId="{8D9D9F2A-742B-42F6-8DE0-4C4E27773B5F}" dt="2025-09-08T18:33:50.382" v="2462" actId="1076"/>
          <ac:picMkLst>
            <pc:docMk/>
            <pc:sldMk cId="1865783291" sldId="263"/>
            <ac:picMk id="15" creationId="{2484DAFE-2609-59E3-EC4E-6DAFF1C093C3}"/>
          </ac:picMkLst>
        </pc:picChg>
      </pc:sldChg>
      <pc:sldChg chg="addSp delSp modSp mod">
        <pc:chgData name="Chris Foord" userId="d6834ee9-08ba-4aea-aced-ae8758ec2b98" providerId="ADAL" clId="{8D9D9F2A-742B-42F6-8DE0-4C4E27773B5F}" dt="2025-09-08T18:37:51.129" v="2736"/>
        <pc:sldMkLst>
          <pc:docMk/>
          <pc:sldMk cId="1296552325" sldId="264"/>
        </pc:sldMkLst>
        <pc:spChg chg="mod">
          <ac:chgData name="Chris Foord" userId="d6834ee9-08ba-4aea-aced-ae8758ec2b98" providerId="ADAL" clId="{8D9D9F2A-742B-42F6-8DE0-4C4E27773B5F}" dt="2025-09-08T18:23:41.397" v="1981" actId="207"/>
          <ac:spMkLst>
            <pc:docMk/>
            <pc:sldMk cId="1296552325" sldId="264"/>
            <ac:spMk id="2" creationId="{7FC250D9-8906-6199-368D-47581686D797}"/>
          </ac:spMkLst>
        </pc:spChg>
        <pc:spChg chg="del mod">
          <ac:chgData name="Chris Foord" userId="d6834ee9-08ba-4aea-aced-ae8758ec2b98" providerId="ADAL" clId="{8D9D9F2A-742B-42F6-8DE0-4C4E27773B5F}" dt="2025-09-08T18:35:54.339" v="2484" actId="478"/>
          <ac:spMkLst>
            <pc:docMk/>
            <pc:sldMk cId="1296552325" sldId="264"/>
            <ac:spMk id="3" creationId="{725ED438-4518-ECA9-9FF9-7168E09BF638}"/>
          </ac:spMkLst>
        </pc:spChg>
        <pc:spChg chg="add mod">
          <ac:chgData name="Chris Foord" userId="d6834ee9-08ba-4aea-aced-ae8758ec2b98" providerId="ADAL" clId="{8D9D9F2A-742B-42F6-8DE0-4C4E27773B5F}" dt="2025-09-08T18:37:35.567" v="2735" actId="403"/>
          <ac:spMkLst>
            <pc:docMk/>
            <pc:sldMk cId="1296552325" sldId="264"/>
            <ac:spMk id="5" creationId="{AFE52867-7373-70CA-179F-FB2ED630108D}"/>
          </ac:spMkLst>
        </pc:spChg>
        <pc:spChg chg="del mod">
          <ac:chgData name="Chris Foord" userId="d6834ee9-08ba-4aea-aced-ae8758ec2b98" providerId="ADAL" clId="{8D9D9F2A-742B-42F6-8DE0-4C4E27773B5F}" dt="2025-09-08T18:35:54.339" v="2484" actId="478"/>
          <ac:spMkLst>
            <pc:docMk/>
            <pc:sldMk cId="1296552325" sldId="264"/>
            <ac:spMk id="8" creationId="{66A880B4-A1F7-0A39-4DC8-F65B3F42FADD}"/>
          </ac:spMkLst>
        </pc:spChg>
        <pc:spChg chg="del mod">
          <ac:chgData name="Chris Foord" userId="d6834ee9-08ba-4aea-aced-ae8758ec2b98" providerId="ADAL" clId="{8D9D9F2A-742B-42F6-8DE0-4C4E27773B5F}" dt="2025-09-08T18:35:54.339" v="2484" actId="478"/>
          <ac:spMkLst>
            <pc:docMk/>
            <pc:sldMk cId="1296552325" sldId="264"/>
            <ac:spMk id="9" creationId="{48F98DF8-BFB7-EA71-E177-B691109C29A9}"/>
          </ac:spMkLst>
        </pc:spChg>
        <pc:spChg chg="del mod">
          <ac:chgData name="Chris Foord" userId="d6834ee9-08ba-4aea-aced-ae8758ec2b98" providerId="ADAL" clId="{8D9D9F2A-742B-42F6-8DE0-4C4E27773B5F}" dt="2025-09-08T18:35:54.339" v="2484" actId="478"/>
          <ac:spMkLst>
            <pc:docMk/>
            <pc:sldMk cId="1296552325" sldId="264"/>
            <ac:spMk id="10" creationId="{CA294726-8A9C-34BE-A364-B25363734059}"/>
          </ac:spMkLst>
        </pc:spChg>
        <pc:spChg chg="del mod">
          <ac:chgData name="Chris Foord" userId="d6834ee9-08ba-4aea-aced-ae8758ec2b98" providerId="ADAL" clId="{8D9D9F2A-742B-42F6-8DE0-4C4E27773B5F}" dt="2025-09-08T18:35:54.339" v="2484" actId="478"/>
          <ac:spMkLst>
            <pc:docMk/>
            <pc:sldMk cId="1296552325" sldId="264"/>
            <ac:spMk id="11" creationId="{6922A413-136E-17BD-91A2-B6B3E6D4AD18}"/>
          </ac:spMkLst>
        </pc:spChg>
        <pc:spChg chg="del mod">
          <ac:chgData name="Chris Foord" userId="d6834ee9-08ba-4aea-aced-ae8758ec2b98" providerId="ADAL" clId="{8D9D9F2A-742B-42F6-8DE0-4C4E27773B5F}" dt="2025-09-08T18:35:54.339" v="2484" actId="478"/>
          <ac:spMkLst>
            <pc:docMk/>
            <pc:sldMk cId="1296552325" sldId="264"/>
            <ac:spMk id="12" creationId="{F3F77DBD-36A4-6BE7-727A-FD61D6E9CE40}"/>
          </ac:spMkLst>
        </pc:spChg>
        <pc:spChg chg="del mod">
          <ac:chgData name="Chris Foord" userId="d6834ee9-08ba-4aea-aced-ae8758ec2b98" providerId="ADAL" clId="{8D9D9F2A-742B-42F6-8DE0-4C4E27773B5F}" dt="2025-09-08T18:35:54.339" v="2484" actId="478"/>
          <ac:spMkLst>
            <pc:docMk/>
            <pc:sldMk cId="1296552325" sldId="264"/>
            <ac:spMk id="13" creationId="{7B3B0412-9E62-2A23-80EE-08073E7D3F9C}"/>
          </ac:spMkLst>
        </pc:spChg>
        <pc:spChg chg="del mod">
          <ac:chgData name="Chris Foord" userId="d6834ee9-08ba-4aea-aced-ae8758ec2b98" providerId="ADAL" clId="{8D9D9F2A-742B-42F6-8DE0-4C4E27773B5F}" dt="2025-09-08T18:35:54.339" v="2484" actId="478"/>
          <ac:spMkLst>
            <pc:docMk/>
            <pc:sldMk cId="1296552325" sldId="264"/>
            <ac:spMk id="14" creationId="{C33CDFCC-DCD4-6B5C-94CD-BEDAF1A73926}"/>
          </ac:spMkLst>
        </pc:spChg>
        <pc:picChg chg="mod">
          <ac:chgData name="Chris Foord" userId="d6834ee9-08ba-4aea-aced-ae8758ec2b98" providerId="ADAL" clId="{8D9D9F2A-742B-42F6-8DE0-4C4E27773B5F}" dt="2025-09-08T18:36:12.237" v="2487" actId="1076"/>
          <ac:picMkLst>
            <pc:docMk/>
            <pc:sldMk cId="1296552325" sldId="264"/>
            <ac:picMk id="4" creationId="{3ED84EC6-3213-FC7F-5B3D-5CED3F93857B}"/>
          </ac:picMkLst>
        </pc:picChg>
        <pc:picChg chg="add mod">
          <ac:chgData name="Chris Foord" userId="d6834ee9-08ba-4aea-aced-ae8758ec2b98" providerId="ADAL" clId="{8D9D9F2A-742B-42F6-8DE0-4C4E27773B5F}" dt="2025-09-08T18:37:51.129" v="2736"/>
          <ac:picMkLst>
            <pc:docMk/>
            <pc:sldMk cId="1296552325" sldId="264"/>
            <ac:picMk id="6" creationId="{247881A5-C0FD-9758-783A-1D0B016E691B}"/>
          </ac:picMkLst>
        </pc:picChg>
      </pc:sldChg>
      <pc:sldChg chg="modSp mod">
        <pc:chgData name="Chris Foord" userId="d6834ee9-08ba-4aea-aced-ae8758ec2b98" providerId="ADAL" clId="{8D9D9F2A-742B-42F6-8DE0-4C4E27773B5F}" dt="2025-09-08T18:32:29.543" v="2454" actId="255"/>
        <pc:sldMkLst>
          <pc:docMk/>
          <pc:sldMk cId="2984186139" sldId="265"/>
        </pc:sldMkLst>
        <pc:spChg chg="mod">
          <ac:chgData name="Chris Foord" userId="d6834ee9-08ba-4aea-aced-ae8758ec2b98" providerId="ADAL" clId="{8D9D9F2A-742B-42F6-8DE0-4C4E27773B5F}" dt="2025-09-08T18:23:41.026" v="1491" actId="207"/>
          <ac:spMkLst>
            <pc:docMk/>
            <pc:sldMk cId="2984186139" sldId="265"/>
            <ac:spMk id="2" creationId="{3EFA3BD2-1C99-C979-B67D-44EE02791E9C}"/>
          </ac:spMkLst>
        </pc:spChg>
        <pc:spChg chg="mod">
          <ac:chgData name="Chris Foord" userId="d6834ee9-08ba-4aea-aced-ae8758ec2b98" providerId="ADAL" clId="{8D9D9F2A-742B-42F6-8DE0-4C4E27773B5F}" dt="2025-09-08T18:23:41.049" v="1527" actId="207"/>
          <ac:spMkLst>
            <pc:docMk/>
            <pc:sldMk cId="2984186139" sldId="265"/>
            <ac:spMk id="9" creationId="{E24C669B-5725-1260-F24C-374D4457DE54}"/>
          </ac:spMkLst>
        </pc:spChg>
        <pc:spChg chg="mod">
          <ac:chgData name="Chris Foord" userId="d6834ee9-08ba-4aea-aced-ae8758ec2b98" providerId="ADAL" clId="{8D9D9F2A-742B-42F6-8DE0-4C4E27773B5F}" dt="2025-09-08T18:32:29.543" v="2454" actId="255"/>
          <ac:spMkLst>
            <pc:docMk/>
            <pc:sldMk cId="2984186139" sldId="265"/>
            <ac:spMk id="17" creationId="{714145B9-D76F-E70A-4EDC-C8196ACA866E}"/>
          </ac:spMkLst>
        </pc:spChg>
      </pc:sldChg>
      <pc:sldChg chg="modSp del mod">
        <pc:chgData name="Chris Foord" userId="d6834ee9-08ba-4aea-aced-ae8758ec2b98" providerId="ADAL" clId="{8D9D9F2A-742B-42F6-8DE0-4C4E27773B5F}" dt="2025-09-08T18:24:14.290" v="2271" actId="47"/>
        <pc:sldMkLst>
          <pc:docMk/>
          <pc:sldMk cId="3184921574" sldId="266"/>
        </pc:sldMkLst>
        <pc:spChg chg="mod">
          <ac:chgData name="Chris Foord" userId="d6834ee9-08ba-4aea-aced-ae8758ec2b98" providerId="ADAL" clId="{8D9D9F2A-742B-42F6-8DE0-4C4E27773B5F}" dt="2025-09-08T18:23:41.557" v="2207" actId="207"/>
          <ac:spMkLst>
            <pc:docMk/>
            <pc:sldMk cId="3184921574" sldId="266"/>
            <ac:spMk id="5" creationId="{E264376B-7E44-11D2-1433-E2E0C793CBD6}"/>
          </ac:spMkLst>
        </pc:spChg>
        <pc:spChg chg="mod">
          <ac:chgData name="Chris Foord" userId="d6834ee9-08ba-4aea-aced-ae8758ec2b98" providerId="ADAL" clId="{8D9D9F2A-742B-42F6-8DE0-4C4E27773B5F}" dt="2025-09-08T18:23:41.595" v="2267" actId="207"/>
          <ac:spMkLst>
            <pc:docMk/>
            <pc:sldMk cId="3184921574" sldId="266"/>
            <ac:spMk id="7" creationId="{0E94518F-D7D5-FC96-794C-39F2A1A7324C}"/>
          </ac:spMkLst>
        </pc:spChg>
      </pc:sldChg>
      <pc:sldChg chg="addSp delSp modSp new mod modClrScheme chgLayout">
        <pc:chgData name="Chris Foord" userId="d6834ee9-08ba-4aea-aced-ae8758ec2b98" providerId="ADAL" clId="{8D9D9F2A-742B-42F6-8DE0-4C4E27773B5F}" dt="2025-09-08T18:25:53.783" v="2273" actId="1076"/>
        <pc:sldMkLst>
          <pc:docMk/>
          <pc:sldMk cId="828160398" sldId="267"/>
        </pc:sldMkLst>
        <pc:spChg chg="del mod">
          <ac:chgData name="Chris Foord" userId="d6834ee9-08ba-4aea-aced-ae8758ec2b98" providerId="ADAL" clId="{8D9D9F2A-742B-42F6-8DE0-4C4E27773B5F}" dt="2025-09-08T18:23:48.162" v="2268" actId="700"/>
          <ac:spMkLst>
            <pc:docMk/>
            <pc:sldMk cId="828160398" sldId="267"/>
            <ac:spMk id="2" creationId="{7EE375CE-6E54-6D64-F5B3-EF5B77EEA4C8}"/>
          </ac:spMkLst>
        </pc:spChg>
        <pc:spChg chg="del mod">
          <ac:chgData name="Chris Foord" userId="d6834ee9-08ba-4aea-aced-ae8758ec2b98" providerId="ADAL" clId="{8D9D9F2A-742B-42F6-8DE0-4C4E27773B5F}" dt="2025-09-08T18:23:48.162" v="2268" actId="700"/>
          <ac:spMkLst>
            <pc:docMk/>
            <pc:sldMk cId="828160398" sldId="267"/>
            <ac:spMk id="3" creationId="{89B692E3-15BD-1CB7-A6EE-0F870A921B92}"/>
          </ac:spMkLst>
        </pc:spChg>
        <pc:spChg chg="add mod">
          <ac:chgData name="Chris Foord" userId="d6834ee9-08ba-4aea-aced-ae8758ec2b98" providerId="ADAL" clId="{8D9D9F2A-742B-42F6-8DE0-4C4E27773B5F}" dt="2025-09-08T18:24:07.777" v="2270" actId="1076"/>
          <ac:spMkLst>
            <pc:docMk/>
            <pc:sldMk cId="828160398" sldId="267"/>
            <ac:spMk id="4" creationId="{007CE9C2-3B6D-B9E8-689C-649EC946F451}"/>
          </ac:spMkLst>
        </pc:spChg>
        <pc:picChg chg="add mod">
          <ac:chgData name="Chris Foord" userId="d6834ee9-08ba-4aea-aced-ae8758ec2b98" providerId="ADAL" clId="{8D9D9F2A-742B-42F6-8DE0-4C4E27773B5F}" dt="2025-09-08T18:24:07.777" v="2270" actId="1076"/>
          <ac:picMkLst>
            <pc:docMk/>
            <pc:sldMk cId="828160398" sldId="267"/>
            <ac:picMk id="5" creationId="{6DFA126E-6BC5-FD0B-80A6-59808606D74B}"/>
          </ac:picMkLst>
        </pc:picChg>
        <pc:picChg chg="add mod">
          <ac:chgData name="Chris Foord" userId="d6834ee9-08ba-4aea-aced-ae8758ec2b98" providerId="ADAL" clId="{8D9D9F2A-742B-42F6-8DE0-4C4E27773B5F}" dt="2025-09-08T18:24:07.777" v="2270" actId="1076"/>
          <ac:picMkLst>
            <pc:docMk/>
            <pc:sldMk cId="828160398" sldId="267"/>
            <ac:picMk id="6" creationId="{A3AB7AA4-7FFF-8487-51AC-A51B9C2504A2}"/>
          </ac:picMkLst>
        </pc:picChg>
        <pc:picChg chg="add mod">
          <ac:chgData name="Chris Foord" userId="d6834ee9-08ba-4aea-aced-ae8758ec2b98" providerId="ADAL" clId="{8D9D9F2A-742B-42F6-8DE0-4C4E27773B5F}" dt="2025-09-08T18:25:53.783" v="2273" actId="1076"/>
          <ac:picMkLst>
            <pc:docMk/>
            <pc:sldMk cId="828160398" sldId="267"/>
            <ac:picMk id="7" creationId="{FFF5E1F7-3CDD-6C6E-8141-6B83D2922A1F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4ECF8D-5949-466F-A756-BF7161CB9D1E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347683-770B-4A8A-A535-86C7CF409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476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7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B809BEF1-28A8-4EAD-8653-E8D8B3947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500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B809BEF1-28A8-4EAD-8653-E8D8B3947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A61309-813F-4E22-BBAA-611FDEC0744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3200" b="1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F7770D-AD84-4358-8F90-214F61851564}"/>
              </a:ext>
            </a:extLst>
          </p:cNvPr>
          <p:cNvSpPr/>
          <p:nvPr/>
        </p:nvSpPr>
        <p:spPr>
          <a:xfrm>
            <a:off x="10984219" y="6480720"/>
            <a:ext cx="1136576" cy="3326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6B717FA3-069D-4E94-9701-7D0E880402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87691" y="5963138"/>
            <a:ext cx="2090741" cy="565200"/>
          </a:xfrm>
          <a:prstGeom prst="rect">
            <a:avLst/>
          </a:prstGeom>
        </p:spPr>
      </p:pic>
      <p:pic>
        <p:nvPicPr>
          <p:cNvPr id="12" name="Picture 11" descr="A picture containing green, room, sink, tub&#10;&#10;Description automatically generated">
            <a:extLst>
              <a:ext uri="{FF2B5EF4-FFF2-40B4-BE49-F238E27FC236}">
                <a16:creationId xmlns:a16="http://schemas.microsoft.com/office/drawing/2014/main" id="{B0DBA0FB-1067-479B-B3D5-12AD1AEF88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3200" cy="5605311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42C24DAA-2037-4CCF-B3F7-BBE9F6B59B3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7000"/>
          </a:blip>
          <a:srcRect l="27105" t="9200" b="8933"/>
          <a:stretch/>
        </p:blipFill>
        <p:spPr>
          <a:xfrm>
            <a:off x="0" y="0"/>
            <a:ext cx="4802514" cy="561447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3A2FCAAE-AA93-4F68-BE69-45208C4C56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37600" y="2125850"/>
            <a:ext cx="8388000" cy="595923"/>
          </a:xfrm>
        </p:spPr>
        <p:txBody>
          <a:bodyPr wrap="square" tIns="36000" bIns="36000" anchor="b" anchorCtr="0">
            <a:spAutoFit/>
          </a:bodyPr>
          <a:lstStyle>
            <a:lvl1pPr algn="l">
              <a:lnSpc>
                <a:spcPts val="3500"/>
              </a:lnSpc>
              <a:defRPr kumimoji="0" lang="en-US" sz="34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BD9C87A-8218-4CF1-880F-69C7BF0854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37600" y="2695002"/>
            <a:ext cx="8388000" cy="374906"/>
          </a:xfrm>
        </p:spPr>
        <p:txBody>
          <a:bodyPr tIns="0" bIns="3600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kumimoji="0" lang="en-US" sz="2200" b="0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D1A6765-467D-4A51-AF2A-F303F6876D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7600" y="3443661"/>
            <a:ext cx="8388000" cy="282573"/>
          </a:xfrm>
        </p:spPr>
        <p:txBody>
          <a:bodyPr wrap="square" tIns="0" bIns="36000">
            <a:spAutoFit/>
          </a:bodyPr>
          <a:lstStyle>
            <a:lvl1pPr>
              <a:defRPr kumimoji="0" lang="en-GB" sz="1600" b="0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82741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70F5580-E808-425F-B854-52597DF99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950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70F5580-E808-425F-B854-52597DF99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4C8FCA9-A490-4EE9-A121-9674CD4CE2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316800"/>
            <a:ext cx="11340000" cy="46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1162800"/>
            <a:ext cx="11340000" cy="1940770"/>
          </a:xfrm>
        </p:spPr>
        <p:txBody>
          <a:bodyPr tIns="72000" bIns="72000"/>
          <a:lstStyle>
            <a:lvl1pPr>
              <a:spcBef>
                <a:spcPts val="400"/>
              </a:spcBef>
              <a:spcAft>
                <a:spcPts val="400"/>
              </a:spcAft>
              <a:defRPr/>
            </a:lvl1pPr>
            <a:lvl2pPr>
              <a:spcBef>
                <a:spcPts val="400"/>
              </a:spcBef>
              <a:spcAft>
                <a:spcPts val="400"/>
              </a:spcAft>
              <a:defRPr/>
            </a:lvl2pPr>
            <a:lvl3pPr>
              <a:spcBef>
                <a:spcPts val="400"/>
              </a:spcBef>
              <a:spcAft>
                <a:spcPts val="400"/>
              </a:spcAft>
              <a:defRPr/>
            </a:lvl3pPr>
            <a:lvl4pPr>
              <a:spcBef>
                <a:spcPts val="400"/>
              </a:spcBef>
              <a:spcAft>
                <a:spcPts val="400"/>
              </a:spcAft>
              <a:defRPr/>
            </a:lvl4pPr>
            <a:lvl5pPr>
              <a:spcBef>
                <a:spcPts val="400"/>
              </a:spcBef>
              <a:spcAft>
                <a:spcPts val="4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38546480-D7FD-4D28-AB1B-F1F27CFABFC8}"/>
              </a:ext>
            </a:extLst>
          </p:cNvPr>
          <p:cNvSpPr txBox="1"/>
          <p:nvPr/>
        </p:nvSpPr>
        <p:spPr>
          <a:xfrm>
            <a:off x="72781" y="6664995"/>
            <a:ext cx="358112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GB"/>
            </a:defPPr>
            <a:lvl1pPr algn="l">
              <a:defRPr sz="1000" b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AD09F8B9-30AD-40AD-AFF2-B26CCD38DAE5}" type="slidenum">
              <a:rPr lang="en-GB" sz="1100" b="0" smtClean="0">
                <a:solidFill>
                  <a:schemeClr val="accent3"/>
                </a:solidFill>
              </a:rPr>
              <a:pPr lvl="0"/>
              <a:t>‹#›</a:t>
            </a:fld>
            <a:endParaRPr lang="en-GB" sz="1100" b="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5597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34D5D37-69F3-45B8-A119-999B70E717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8441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34D5D37-69F3-45B8-A119-999B70E71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337AD17-03A9-4E84-A549-8CB695D5EAD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2000" y="1162800"/>
            <a:ext cx="5347938" cy="1940770"/>
          </a:xfrm>
        </p:spPr>
        <p:txBody>
          <a:bodyPr vert="horz" lIns="72000" tIns="72000" rIns="72000" bIns="72000" rtlCol="0">
            <a:spAutoFit/>
          </a:bodyPr>
          <a:lstStyle>
            <a:lvl1pPr>
              <a:spcBef>
                <a:spcPts val="400"/>
              </a:spcBef>
              <a:spcAft>
                <a:spcPts val="400"/>
              </a:spcAft>
              <a:defRPr lang="en-US" dirty="0" smtClean="0"/>
            </a:lvl1pPr>
            <a:lvl2pPr>
              <a:spcBef>
                <a:spcPts val="400"/>
              </a:spcBef>
              <a:spcAft>
                <a:spcPts val="400"/>
              </a:spcAft>
              <a:defRPr lang="en-US" dirty="0" smtClean="0"/>
            </a:lvl2pPr>
            <a:lvl3pPr>
              <a:spcBef>
                <a:spcPts val="400"/>
              </a:spcBef>
              <a:spcAft>
                <a:spcPts val="400"/>
              </a:spcAft>
              <a:defRPr lang="en-US" dirty="0" smtClean="0"/>
            </a:lvl3pPr>
            <a:lvl4pPr>
              <a:spcBef>
                <a:spcPts val="400"/>
              </a:spcBef>
              <a:spcAft>
                <a:spcPts val="400"/>
              </a:spcAft>
              <a:defRPr lang="en-US" dirty="0" smtClean="0"/>
            </a:lvl4pPr>
            <a:lvl5pPr>
              <a:spcBef>
                <a:spcPts val="400"/>
              </a:spcBef>
              <a:spcAft>
                <a:spcPts val="400"/>
              </a:spcAft>
              <a:defRPr lang="en-US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26000" y="1162800"/>
            <a:ext cx="5347938" cy="1940770"/>
          </a:xfrm>
        </p:spPr>
        <p:txBody>
          <a:bodyPr vert="horz" lIns="72000" tIns="72000" rIns="72000" bIns="72000" rtlCol="0">
            <a:spAutoFit/>
          </a:bodyPr>
          <a:lstStyle>
            <a:lvl1pPr>
              <a:spcBef>
                <a:spcPts val="400"/>
              </a:spcBef>
              <a:spcAft>
                <a:spcPts val="400"/>
              </a:spcAft>
              <a:defRPr lang="en-US" smtClean="0"/>
            </a:lvl1pPr>
            <a:lvl2pPr>
              <a:spcBef>
                <a:spcPts val="400"/>
              </a:spcBef>
              <a:spcAft>
                <a:spcPts val="400"/>
              </a:spcAft>
              <a:defRPr lang="en-US" smtClean="0"/>
            </a:lvl2pPr>
            <a:lvl3pPr>
              <a:spcBef>
                <a:spcPts val="400"/>
              </a:spcBef>
              <a:spcAft>
                <a:spcPts val="400"/>
              </a:spcAft>
              <a:defRPr lang="en-US" smtClean="0"/>
            </a:lvl3pPr>
            <a:lvl4pPr>
              <a:spcBef>
                <a:spcPts val="400"/>
              </a:spcBef>
              <a:spcAft>
                <a:spcPts val="400"/>
              </a:spcAft>
              <a:defRPr lang="en-US" smtClean="0"/>
            </a:lvl4pPr>
            <a:lvl5pPr>
              <a:spcBef>
                <a:spcPts val="400"/>
              </a:spcBef>
              <a:spcAft>
                <a:spcPts val="400"/>
              </a:spcAft>
              <a:defRPr lang="en-US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501759D9-9C4E-4B8A-B6D6-23281BB99227}"/>
              </a:ext>
            </a:extLst>
          </p:cNvPr>
          <p:cNvSpPr txBox="1"/>
          <p:nvPr/>
        </p:nvSpPr>
        <p:spPr>
          <a:xfrm>
            <a:off x="72781" y="6664995"/>
            <a:ext cx="358112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GB"/>
            </a:defPPr>
            <a:lvl1pPr algn="l">
              <a:defRPr sz="1000" b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AD09F8B9-30AD-40AD-AFF2-B26CCD38DAE5}" type="slidenum">
              <a:rPr lang="en-GB" sz="1100" b="0" smtClean="0">
                <a:solidFill>
                  <a:schemeClr val="accent3"/>
                </a:solidFill>
              </a:rPr>
              <a:pPr lvl="0"/>
              <a:t>‹#›</a:t>
            </a:fld>
            <a:endParaRPr lang="en-GB" sz="1100" b="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3182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1FA18FE-7D2D-430E-A5E8-1FB8526ED0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61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1FA18FE-7D2D-430E-A5E8-1FB8526ED0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51E42B-D122-4691-9858-D447D489C41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2000" y="2787746"/>
            <a:ext cx="11340000" cy="1474985"/>
          </a:xfrm>
        </p:spPr>
        <p:txBody>
          <a:bodyPr lIns="720000" tIns="144000" rIns="720000" bIns="144000" anchor="ctr" anchorCtr="0"/>
          <a:lstStyle>
            <a:lvl1pPr marL="441580" marR="0" fontAlgn="auto">
              <a:lnSpc>
                <a:spcPct val="100000"/>
              </a:lnSpc>
              <a:spcBef>
                <a:spcPts val="600"/>
              </a:spcBef>
              <a:spcAft>
                <a:spcPts val="3000"/>
              </a:spcAft>
              <a:buClr>
                <a:srgbClr val="B40646"/>
              </a:buClr>
              <a:buSzTx/>
              <a:tabLst/>
              <a:defRPr sz="2000"/>
            </a:lvl1pPr>
            <a:lvl2pPr marL="441580" marR="0" indent="-441580" fontAlgn="auto">
              <a:lnSpc>
                <a:spcPct val="100000"/>
              </a:lnSpc>
              <a:spcBef>
                <a:spcPts val="600"/>
              </a:spcBef>
              <a:spcAft>
                <a:spcPts val="3000"/>
              </a:spcAft>
              <a:buClr>
                <a:srgbClr val="B40646"/>
              </a:buClr>
              <a:buSzPct val="110000"/>
              <a:buFont typeface="Wingdings 3" panose="05040102010807070707" pitchFamily="18" charset="2"/>
              <a:buChar char=""/>
              <a:tabLst/>
              <a:defRPr sz="2000" b="1"/>
            </a:lvl2pPr>
          </a:lstStyle>
          <a:p>
            <a:pPr marL="441580" marR="0" lvl="0" fontAlgn="auto">
              <a:lnSpc>
                <a:spcPct val="100000"/>
              </a:lnSpc>
              <a:spcBef>
                <a:spcPts val="738"/>
              </a:spcBef>
              <a:spcAft>
                <a:spcPts val="3692"/>
              </a:spcAft>
              <a:buClr>
                <a:srgbClr val="B40646"/>
              </a:buClr>
              <a:buSzTx/>
              <a:tabLst/>
            </a:pPr>
            <a:r>
              <a:rPr lang="en-US" noProof="0"/>
              <a:t>Click to edit Master text styles</a:t>
            </a:r>
          </a:p>
          <a:p>
            <a:pPr marL="441580" marR="0" lvl="1" fontAlgn="auto">
              <a:lnSpc>
                <a:spcPct val="100000"/>
              </a:lnSpc>
              <a:spcBef>
                <a:spcPts val="738"/>
              </a:spcBef>
              <a:spcAft>
                <a:spcPts val="3692"/>
              </a:spcAft>
              <a:buClr>
                <a:srgbClr val="B40646"/>
              </a:buClr>
              <a:buSzTx/>
              <a:tabLst/>
            </a:pPr>
            <a:r>
              <a:rPr lang="en-US" noProof="0"/>
              <a:t>Second level</a:t>
            </a:r>
          </a:p>
        </p:txBody>
      </p:sp>
      <p:pic>
        <p:nvPicPr>
          <p:cNvPr id="7" name="Picture 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8800" y="-4844"/>
            <a:ext cx="198000" cy="101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E2FFCDC-3972-45D0-BF90-A03DB93E9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16800"/>
            <a:ext cx="11340000" cy="46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C93F95-154D-4256-8B3E-2F2719CC62FB}"/>
              </a:ext>
            </a:extLst>
          </p:cNvPr>
          <p:cNvSpPr txBox="1"/>
          <p:nvPr/>
        </p:nvSpPr>
        <p:spPr>
          <a:xfrm>
            <a:off x="72781" y="6664995"/>
            <a:ext cx="358112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GB"/>
            </a:defPPr>
            <a:lvl1pPr algn="l">
              <a:defRPr sz="1000" b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AD09F8B9-30AD-40AD-AFF2-B26CCD38DAE5}" type="slidenum">
              <a:rPr lang="en-GB" sz="1100" b="0" smtClean="0">
                <a:solidFill>
                  <a:schemeClr val="accent3"/>
                </a:solidFill>
              </a:rPr>
              <a:pPr lvl="0"/>
              <a:t>‹#›</a:t>
            </a:fld>
            <a:endParaRPr lang="en-GB" sz="1100" b="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982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pac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5D9DFC05-F4FD-47A1-881C-674656DB9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0279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5D9DFC05-F4FD-47A1-881C-674656DB9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4A92A3-A364-43D9-BBBE-D087CA868EA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en-US" sz="4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2FFCDC-3972-45D0-BF90-A03DB93E9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292" y="3131981"/>
            <a:ext cx="9383754" cy="468000"/>
          </a:xfrm>
        </p:spPr>
        <p:txBody>
          <a:bodyPr/>
          <a:lstStyle>
            <a:lvl1pPr algn="ctr"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question or comment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C93F95-154D-4256-8B3E-2F2719CC62FB}"/>
              </a:ext>
            </a:extLst>
          </p:cNvPr>
          <p:cNvSpPr txBox="1"/>
          <p:nvPr/>
        </p:nvSpPr>
        <p:spPr>
          <a:xfrm>
            <a:off x="72781" y="6664995"/>
            <a:ext cx="358112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GB"/>
            </a:defPPr>
            <a:lvl1pPr algn="l">
              <a:defRPr sz="1000" b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AD09F8B9-30AD-40AD-AFF2-B26CCD38DAE5}" type="slidenum">
              <a:rPr lang="en-GB" sz="1100" b="0" smtClean="0">
                <a:solidFill>
                  <a:schemeClr val="bg1">
                    <a:lumMod val="75000"/>
                  </a:schemeClr>
                </a:solidFill>
              </a:rPr>
              <a:pPr lvl="0"/>
              <a:t>‹#›</a:t>
            </a:fld>
            <a:endParaRPr lang="en-GB" sz="1100" b="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453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pac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1DE0112-B8F0-46D5-9AE8-510071866C01}"/>
              </a:ext>
            </a:extLst>
          </p:cNvPr>
          <p:cNvSpPr/>
          <p:nvPr/>
        </p:nvSpPr>
        <p:spPr bwMode="auto">
          <a:xfrm>
            <a:off x="0" y="0"/>
            <a:ext cx="12200688" cy="6858000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en-GB" sz="14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2FFCDC-3972-45D0-BF90-A03DB93E9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292" y="3131981"/>
            <a:ext cx="9383754" cy="468000"/>
          </a:xfrm>
        </p:spPr>
        <p:txBody>
          <a:bodyPr/>
          <a:lstStyle>
            <a:lvl1pPr algn="ctr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, question or comment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C93F95-154D-4256-8B3E-2F2719CC62FB}"/>
              </a:ext>
            </a:extLst>
          </p:cNvPr>
          <p:cNvSpPr txBox="1"/>
          <p:nvPr/>
        </p:nvSpPr>
        <p:spPr>
          <a:xfrm>
            <a:off x="72781" y="6664995"/>
            <a:ext cx="358112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GB"/>
            </a:defPPr>
            <a:lvl1pPr algn="l">
              <a:defRPr sz="1000" b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AD09F8B9-30AD-40AD-AFF2-B26CCD38DAE5}" type="slidenum">
              <a:rPr lang="en-GB" sz="1100" b="0" smtClean="0">
                <a:solidFill>
                  <a:srgbClr val="9D1057"/>
                </a:solidFill>
              </a:rPr>
              <a:pPr lvl="0"/>
              <a:t>‹#›</a:t>
            </a:fld>
            <a:endParaRPr lang="en-GB" sz="1100" b="0" dirty="0">
              <a:solidFill>
                <a:srgbClr val="9D1057"/>
              </a:solidFill>
            </a:endParaRPr>
          </a:p>
        </p:txBody>
      </p:sp>
      <p:pic>
        <p:nvPicPr>
          <p:cNvPr id="6" name="Picture 5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E5B1554A-0ED4-47FE-91B2-884D4FF68B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0800" y="6562800"/>
            <a:ext cx="946513" cy="2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778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pac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1DE0112-B8F0-46D5-9AE8-510071866C01}"/>
              </a:ext>
            </a:extLst>
          </p:cNvPr>
          <p:cNvSpPr/>
          <p:nvPr/>
        </p:nvSpPr>
        <p:spPr bwMode="auto">
          <a:xfrm>
            <a:off x="0" y="0"/>
            <a:ext cx="12200688" cy="6858000"/>
          </a:xfrm>
          <a:prstGeom prst="rect">
            <a:avLst/>
          </a:prstGeom>
          <a:solidFill>
            <a:srgbClr val="E7511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en-GB" sz="14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2FFCDC-3972-45D0-BF90-A03DB93E9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292" y="3131981"/>
            <a:ext cx="9383754" cy="468000"/>
          </a:xfrm>
        </p:spPr>
        <p:txBody>
          <a:bodyPr/>
          <a:lstStyle>
            <a:lvl1pPr algn="ctr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, question or comment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C93F95-154D-4256-8B3E-2F2719CC62FB}"/>
              </a:ext>
            </a:extLst>
          </p:cNvPr>
          <p:cNvSpPr txBox="1"/>
          <p:nvPr/>
        </p:nvSpPr>
        <p:spPr>
          <a:xfrm>
            <a:off x="72781" y="6664995"/>
            <a:ext cx="358112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GB"/>
            </a:defPPr>
            <a:lvl1pPr algn="l">
              <a:defRPr sz="1000" b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AD09F8B9-30AD-40AD-AFF2-B26CCD38DAE5}" type="slidenum">
              <a:rPr lang="en-GB" sz="1100" b="0" smtClean="0">
                <a:solidFill>
                  <a:schemeClr val="accent4"/>
                </a:solidFill>
              </a:rPr>
              <a:pPr lvl="0"/>
              <a:t>‹#›</a:t>
            </a:fld>
            <a:endParaRPr lang="en-GB" sz="1100" b="0" dirty="0">
              <a:solidFill>
                <a:schemeClr val="accent4"/>
              </a:solidFill>
            </a:endParaRPr>
          </a:p>
        </p:txBody>
      </p:sp>
      <p:pic>
        <p:nvPicPr>
          <p:cNvPr id="4" name="Picture 3" descr="A picture containing food&#10;&#10;Description automatically generated">
            <a:extLst>
              <a:ext uri="{FF2B5EF4-FFF2-40B4-BE49-F238E27FC236}">
                <a16:creationId xmlns:a16="http://schemas.microsoft.com/office/drawing/2014/main" id="{74B05ED7-92A1-4AB5-ABE1-8BE023BF77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0800" y="6562800"/>
            <a:ext cx="946513" cy="2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3489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of presen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BD37BE-273E-4875-AEFE-A884EDC5C44B}"/>
              </a:ext>
            </a:extLst>
          </p:cNvPr>
          <p:cNvSpPr/>
          <p:nvPr/>
        </p:nvSpPr>
        <p:spPr bwMode="auto">
          <a:xfrm flipH="1" flipV="1">
            <a:off x="0" y="-17756"/>
            <a:ext cx="12192000" cy="68580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179E58-50FD-4084-A88B-71DB7B047E90}"/>
              </a:ext>
            </a:extLst>
          </p:cNvPr>
          <p:cNvSpPr>
            <a:spLocks/>
          </p:cNvSpPr>
          <p:nvPr/>
        </p:nvSpPr>
        <p:spPr bwMode="auto">
          <a:xfrm flipH="1" flipV="1">
            <a:off x="174000" y="174600"/>
            <a:ext cx="11844000" cy="65088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E75113"/>
              </a:gs>
            </a:gsLst>
            <a:lin ang="10800000" scaled="0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en-GB" dirty="0"/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E35DE271-4E1E-4EBD-BADE-9D8250797FBD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64605" y="5566973"/>
            <a:ext cx="2777101" cy="748517"/>
          </a:xfrm>
          <a:prstGeom prst="rect">
            <a:avLst/>
          </a:prstGeom>
        </p:spPr>
      </p:pic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7661F39D-DFA7-4456-9B57-0D996ABDA2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265" y="206288"/>
            <a:ext cx="3001023" cy="49096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44F545B-39E4-BB23-316A-CC42961FF9AF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357520" y="2571674"/>
            <a:ext cx="9327688" cy="1609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8913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169F89F-42CD-420A-BDCF-BD6EDC1592AA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04406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2" imgW="395" imgH="396" progId="TCLayout.ActiveDocument.1">
                  <p:embed/>
                </p:oleObj>
              </mc:Choice>
              <mc:Fallback>
                <p:oleObj name="Diapositive think-cell" r:id="rId12" imgW="395" imgH="39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169F89F-42CD-420A-BDCF-BD6EDC159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C162D6-BC65-4F75-8D8C-9A94DE3961F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316800"/>
            <a:ext cx="11340000" cy="468000"/>
          </a:xfrm>
          <a:prstGeom prst="rect">
            <a:avLst/>
          </a:prstGeom>
        </p:spPr>
        <p:txBody>
          <a:bodyPr vert="horz" lIns="72000" tIns="45720" rIns="72000" bIns="45720" rtlCol="0" anchor="ctr" anchorCtr="0">
            <a:noAutofit/>
          </a:bodyPr>
          <a:lstStyle/>
          <a:p>
            <a:r>
              <a:rPr lang="fr-FR" noProof="0"/>
              <a:t>Modifiez le style du titr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162800"/>
            <a:ext cx="11340000" cy="1940770"/>
          </a:xfrm>
          <a:prstGeom prst="rect">
            <a:avLst/>
          </a:prstGeom>
        </p:spPr>
        <p:txBody>
          <a:bodyPr vert="horz" lIns="72000" tIns="72000" rIns="72000" bIns="72000" rtlCol="0">
            <a:spAutoFit/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GB" noProof="0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7E9C1D2B-9B77-4A31-B379-E7FD4DCB652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169738" y="6562444"/>
            <a:ext cx="950155" cy="25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717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1125444" rtl="0" eaLnBrk="1" latinLnBrk="0" hangingPunct="1">
        <a:spcBef>
          <a:spcPct val="0"/>
        </a:spcBef>
        <a:buNone/>
        <a:defRPr sz="2400" b="1" kern="0" cap="none" spc="0" baseline="0">
          <a:ln>
            <a:noFill/>
          </a:ln>
          <a:solidFill>
            <a:schemeClr val="tx2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125444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Arial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12072" indent="-279145" algn="l" defTabSz="1125444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82000"/>
        <a:buFont typeface="Wingdings 3" panose="05040102010807070707" pitchFamily="18" charset="2"/>
        <a:buChar char="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24144" indent="-279145" algn="l" defTabSz="1125444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95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36216" indent="-279145" algn="l" defTabSz="1125444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77000"/>
        <a:buFont typeface="Wingdings 3" panose="05040102010807070707" pitchFamily="18" charset="2"/>
        <a:buChar char="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648287" indent="-279145" algn="l" defTabSz="1125444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Font typeface="Arial" pitchFamily="34" charset="0"/>
        <a:buChar char="-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138343" indent="-225089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23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63431" indent="-225089" algn="l" defTabSz="112544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2588520" indent="-225089" algn="l" defTabSz="1125444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2813609" indent="-225089" algn="l" defTabSz="1125444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731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7423" userDrawn="1">
          <p15:clr>
            <a:srgbClr val="F26B43"/>
          </p15:clr>
        </p15:guide>
        <p15:guide id="8" orient="horz" pos="40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sv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svg"/><Relationship Id="rId10" Type="http://schemas.openxmlformats.org/officeDocument/2006/relationships/image" Target="../media/image22.png"/><Relationship Id="rId4" Type="http://schemas.openxmlformats.org/officeDocument/2006/relationships/image" Target="../media/image34.png"/><Relationship Id="rId9" Type="http://schemas.openxmlformats.org/officeDocument/2006/relationships/image" Target="../media/image3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9E575-F674-086B-B498-CE28798C2F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37600" y="1751388"/>
            <a:ext cx="9743760" cy="970385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  <a:latin typeface="Gotham Bold" pitchFamily="50" charset="0"/>
                <a:cs typeface="Gotham Bold" pitchFamily="50" charset="0"/>
              </a:rPr>
              <a:t>Collaboration &amp; Innovation in NZ Supply Chai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61A9D2-65D1-0CE1-4C68-AED8355998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37600" y="3054094"/>
            <a:ext cx="8388000" cy="374906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  <a:latin typeface="Gotham Rounded Medium" pitchFamily="50" charset="0"/>
              </a:rPr>
              <a:t>Driving Productivity in a Trading N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847DBB-FA29-9278-AD0C-82FB07EEAD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7600" y="3532506"/>
            <a:ext cx="8388000" cy="282573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  <a:latin typeface="Gotham Rounded Medium" pitchFamily="50" charset="0"/>
              </a:rPr>
              <a:t>Chris Foord Keynote: 11</a:t>
            </a:r>
            <a:r>
              <a:rPr lang="en-GB" baseline="30000" dirty="0">
                <a:solidFill>
                  <a:srgbClr val="FFFFFF"/>
                </a:solidFill>
                <a:latin typeface="Gotham Rounded Medium" pitchFamily="50" charset="0"/>
              </a:rPr>
              <a:t>th</a:t>
            </a:r>
            <a:r>
              <a:rPr lang="en-GB" dirty="0">
                <a:solidFill>
                  <a:srgbClr val="FFFFFF"/>
                </a:solidFill>
                <a:latin typeface="Gotham Rounded Medium" pitchFamily="50" charset="0"/>
              </a:rPr>
              <a:t> September 2025</a:t>
            </a:r>
          </a:p>
        </p:txBody>
      </p:sp>
    </p:spTree>
    <p:extLst>
      <p:ext uri="{BB962C8B-B14F-4D97-AF65-F5344CB8AC3E}">
        <p14:creationId xmlns:p14="http://schemas.microsoft.com/office/powerpoint/2010/main" val="39132859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823151-BDB5-5D7E-9121-89581DD12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2005A"/>
                </a:solidFill>
                <a:latin typeface="Gotham Rounded Medium" pitchFamily="50" charset="0"/>
              </a:rPr>
              <a:t>Setting the Scene</a:t>
            </a:r>
          </a:p>
        </p:txBody>
      </p:sp>
      <p:sp>
        <p:nvSpPr>
          <p:cNvPr id="6" name="Bent Arrow 5">
            <a:extLst>
              <a:ext uri="{FF2B5EF4-FFF2-40B4-BE49-F238E27FC236}">
                <a16:creationId xmlns:a16="http://schemas.microsoft.com/office/drawing/2014/main" id="{5A12145A-ECD3-E032-2D43-FD39997F7426}"/>
              </a:ext>
            </a:extLst>
          </p:cNvPr>
          <p:cNvSpPr>
            <a:spLocks noChangeAspect="1"/>
          </p:cNvSpPr>
          <p:nvPr/>
        </p:nvSpPr>
        <p:spPr>
          <a:xfrm rot="16200000" flipV="1">
            <a:off x="4656596" y="-1765584"/>
            <a:ext cx="1535787" cy="9974329"/>
          </a:xfrm>
          <a:prstGeom prst="bentArrow">
            <a:avLst>
              <a:gd name="adj1" fmla="val 24008"/>
              <a:gd name="adj2" fmla="val 25000"/>
              <a:gd name="adj3" fmla="val 25000"/>
              <a:gd name="adj4" fmla="val 43750"/>
            </a:avLst>
          </a:prstGeom>
          <a:solidFill>
            <a:srgbClr val="C200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Bent Arrow 6">
            <a:extLst>
              <a:ext uri="{FF2B5EF4-FFF2-40B4-BE49-F238E27FC236}">
                <a16:creationId xmlns:a16="http://schemas.microsoft.com/office/drawing/2014/main" id="{B395B368-85C6-D1F5-8D14-2B97416FA5E4}"/>
              </a:ext>
            </a:extLst>
          </p:cNvPr>
          <p:cNvSpPr>
            <a:spLocks noChangeAspect="1"/>
          </p:cNvSpPr>
          <p:nvPr/>
        </p:nvSpPr>
        <p:spPr>
          <a:xfrm rot="5400000">
            <a:off x="3493686" y="561870"/>
            <a:ext cx="1549674" cy="7662399"/>
          </a:xfrm>
          <a:prstGeom prst="bentArrow">
            <a:avLst/>
          </a:prstGeom>
          <a:solidFill>
            <a:srgbClr val="C200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Bent Arrow 7">
            <a:extLst>
              <a:ext uri="{FF2B5EF4-FFF2-40B4-BE49-F238E27FC236}">
                <a16:creationId xmlns:a16="http://schemas.microsoft.com/office/drawing/2014/main" id="{2F90FBAA-F8A3-62A5-3E87-A08564952C9D}"/>
              </a:ext>
            </a:extLst>
          </p:cNvPr>
          <p:cNvSpPr>
            <a:spLocks noChangeAspect="1"/>
          </p:cNvSpPr>
          <p:nvPr/>
        </p:nvSpPr>
        <p:spPr>
          <a:xfrm rot="16200000" flipV="1">
            <a:off x="2158350" y="741995"/>
            <a:ext cx="1545116" cy="4987167"/>
          </a:xfrm>
          <a:prstGeom prst="bentArrow">
            <a:avLst/>
          </a:prstGeom>
          <a:solidFill>
            <a:srgbClr val="C200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Bent Arrow 8">
            <a:extLst>
              <a:ext uri="{FF2B5EF4-FFF2-40B4-BE49-F238E27FC236}">
                <a16:creationId xmlns:a16="http://schemas.microsoft.com/office/drawing/2014/main" id="{7DA79914-2B99-AD4B-32DC-E696A9C5BDE1}"/>
              </a:ext>
            </a:extLst>
          </p:cNvPr>
          <p:cNvSpPr>
            <a:spLocks noChangeAspect="1"/>
          </p:cNvSpPr>
          <p:nvPr/>
        </p:nvSpPr>
        <p:spPr>
          <a:xfrm rot="5400000">
            <a:off x="808492" y="2804805"/>
            <a:ext cx="1545116" cy="3162100"/>
          </a:xfrm>
          <a:prstGeom prst="bentArrow">
            <a:avLst>
              <a:gd name="adj1" fmla="val 25781"/>
              <a:gd name="adj2" fmla="val 25000"/>
              <a:gd name="adj3" fmla="val 25000"/>
              <a:gd name="adj4" fmla="val 43750"/>
            </a:avLst>
          </a:prstGeom>
          <a:solidFill>
            <a:srgbClr val="C200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82796A-62D5-E40D-BDA1-88182DE15FC1}"/>
              </a:ext>
            </a:extLst>
          </p:cNvPr>
          <p:cNvSpPr txBox="1"/>
          <p:nvPr/>
        </p:nvSpPr>
        <p:spPr>
          <a:xfrm>
            <a:off x="1528069" y="5307500"/>
            <a:ext cx="3167861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lvl="0" algn="l" eaLnBrk="1" fontAlgn="auto" hangingPunct="1">
              <a:spcBef>
                <a:spcPts val="400"/>
              </a:spcBef>
              <a:spcAft>
                <a:spcPts val="400"/>
              </a:spcAft>
              <a:buClrTx/>
              <a:defRPr/>
            </a:pPr>
            <a:r>
              <a:rPr lang="en-GB" dirty="0">
                <a:solidFill>
                  <a:srgbClr val="C2005A"/>
                </a:solidFill>
                <a:latin typeface="Gotham Rounded Medium" pitchFamily="50" charset="0"/>
              </a:rPr>
              <a:t>NZ is a trading nation, deeply connected to global supply chain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9A3DB1-AE0F-D1CC-6094-8B9FAF4E13B2}"/>
              </a:ext>
            </a:extLst>
          </p:cNvPr>
          <p:cNvSpPr txBox="1"/>
          <p:nvPr/>
        </p:nvSpPr>
        <p:spPr>
          <a:xfrm>
            <a:off x="6530179" y="5382601"/>
            <a:ext cx="31678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 eaLnBrk="1" fontAlgn="auto" hangingPunct="1">
              <a:spcBef>
                <a:spcPts val="400"/>
              </a:spcBef>
              <a:spcAft>
                <a:spcPts val="400"/>
              </a:spcAft>
              <a:buClrTx/>
              <a:defRPr/>
            </a:pPr>
            <a:r>
              <a:rPr lang="en-GB" dirty="0">
                <a:solidFill>
                  <a:srgbClr val="C2005A"/>
                </a:solidFill>
                <a:latin typeface="Gotham Rounded Medium" pitchFamily="50" charset="0"/>
              </a:rPr>
              <a:t>Disruptions hit NZ harder due to remoten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40D001-9AF3-FD5E-06F0-13D90DC871AF}"/>
              </a:ext>
            </a:extLst>
          </p:cNvPr>
          <p:cNvSpPr txBox="1"/>
          <p:nvPr/>
        </p:nvSpPr>
        <p:spPr>
          <a:xfrm>
            <a:off x="8870709" y="1430068"/>
            <a:ext cx="3168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 eaLnBrk="1" fontAlgn="auto" hangingPunct="1">
              <a:spcBef>
                <a:spcPts val="400"/>
              </a:spcBef>
              <a:spcAft>
                <a:spcPts val="400"/>
              </a:spcAft>
              <a:buClrTx/>
              <a:defRPr/>
            </a:pPr>
            <a:r>
              <a:rPr lang="en-GB" dirty="0">
                <a:solidFill>
                  <a:srgbClr val="C2005A"/>
                </a:solidFill>
                <a:latin typeface="Gotham Rounded Medium" pitchFamily="50" charset="0"/>
              </a:rPr>
              <a:t>Supply chains must be efficient, resilient, and innovativ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BB36D4-19BA-504E-57FC-0188C67D54B1}"/>
              </a:ext>
            </a:extLst>
          </p:cNvPr>
          <p:cNvSpPr txBox="1"/>
          <p:nvPr/>
        </p:nvSpPr>
        <p:spPr>
          <a:xfrm>
            <a:off x="3712878" y="1439588"/>
            <a:ext cx="3168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C2005A"/>
                </a:solidFill>
                <a:effectLst/>
                <a:uLnTx/>
                <a:uFillTx/>
                <a:latin typeface="Gotham Rounded Medium" pitchFamily="50" charset="0"/>
              </a:rPr>
              <a:t>Our prosperity depends on the smooth and reliable movement of goods</a:t>
            </a:r>
          </a:p>
        </p:txBody>
      </p:sp>
      <p:pic>
        <p:nvPicPr>
          <p:cNvPr id="19" name="destination">
            <a:extLst>
              <a:ext uri="{FF2B5EF4-FFF2-40B4-BE49-F238E27FC236}">
                <a16:creationId xmlns:a16="http://schemas.microsoft.com/office/drawing/2014/main" id="{D10FF494-5F16-CB89-8453-6CFCFE1404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1157" y="5220468"/>
            <a:ext cx="740879" cy="726352"/>
          </a:xfrm>
          <a:prstGeom prst="rect">
            <a:avLst/>
          </a:prstGeom>
        </p:spPr>
      </p:pic>
      <p:pic>
        <p:nvPicPr>
          <p:cNvPr id="21" name="pallet_picking">
            <a:extLst>
              <a:ext uri="{FF2B5EF4-FFF2-40B4-BE49-F238E27FC236}">
                <a16:creationId xmlns:a16="http://schemas.microsoft.com/office/drawing/2014/main" id="{E8C79EB7-78DD-66A9-BD7C-581438D17A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41678" y="1386969"/>
            <a:ext cx="1140644" cy="514408"/>
          </a:xfrm>
          <a:prstGeom prst="rect">
            <a:avLst/>
          </a:prstGeom>
        </p:spPr>
      </p:pic>
      <p:pic>
        <p:nvPicPr>
          <p:cNvPr id="23" name="Graphic 22" descr="Australia with solid fill">
            <a:extLst>
              <a:ext uri="{FF2B5EF4-FFF2-40B4-BE49-F238E27FC236}">
                <a16:creationId xmlns:a16="http://schemas.microsoft.com/office/drawing/2014/main" id="{2BEBA047-5C06-8F94-21FA-DA8A538AC5E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68952" y="5047230"/>
            <a:ext cx="961226" cy="961226"/>
          </a:xfrm>
          <a:prstGeom prst="rect">
            <a:avLst/>
          </a:prstGeom>
        </p:spPr>
      </p:pic>
      <p:pic>
        <p:nvPicPr>
          <p:cNvPr id="25" name="Graphic 24" descr="Good Idea with solid fill">
            <a:extLst>
              <a:ext uri="{FF2B5EF4-FFF2-40B4-BE49-F238E27FC236}">
                <a16:creationId xmlns:a16="http://schemas.microsoft.com/office/drawing/2014/main" id="{19141C3E-8AAD-DCFF-09FA-91A80E236F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99723" y="118697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391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30996E-3A5B-0B58-8CE3-E53CA9C7D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2005A"/>
                </a:solidFill>
                <a:latin typeface="Gotham Rounded Medium" pitchFamily="50" charset="0"/>
              </a:rPr>
              <a:t>The Productivity Challenge</a:t>
            </a:r>
            <a:endParaRPr lang="en-GB" dirty="0">
              <a:solidFill>
                <a:srgbClr val="C2005A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AFBCD89-EB08-1A73-39CF-980732A24FB8}"/>
              </a:ext>
            </a:extLst>
          </p:cNvPr>
          <p:cNvSpPr>
            <a:spLocks noChangeAspect="1"/>
          </p:cNvSpPr>
          <p:nvPr/>
        </p:nvSpPr>
        <p:spPr>
          <a:xfrm>
            <a:off x="524460" y="1576305"/>
            <a:ext cx="1080000" cy="1080000"/>
          </a:xfrm>
          <a:prstGeom prst="ellipse">
            <a:avLst/>
          </a:prstGeom>
          <a:solidFill>
            <a:srgbClr val="C200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9D9E13-58C8-822B-9F02-394F76B69741}"/>
              </a:ext>
            </a:extLst>
          </p:cNvPr>
          <p:cNvSpPr>
            <a:spLocks noChangeAspect="1"/>
          </p:cNvSpPr>
          <p:nvPr/>
        </p:nvSpPr>
        <p:spPr>
          <a:xfrm>
            <a:off x="524460" y="3378238"/>
            <a:ext cx="1080000" cy="1080000"/>
          </a:xfrm>
          <a:prstGeom prst="ellipse">
            <a:avLst/>
          </a:prstGeom>
          <a:solidFill>
            <a:srgbClr val="C200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40C0A5D-1A63-C95B-E7BA-6E0D050E830B}"/>
              </a:ext>
            </a:extLst>
          </p:cNvPr>
          <p:cNvSpPr>
            <a:spLocks noChangeAspect="1"/>
          </p:cNvSpPr>
          <p:nvPr/>
        </p:nvSpPr>
        <p:spPr>
          <a:xfrm>
            <a:off x="5917897" y="1576305"/>
            <a:ext cx="1080000" cy="1080000"/>
          </a:xfrm>
          <a:prstGeom prst="ellipse">
            <a:avLst/>
          </a:prstGeom>
          <a:solidFill>
            <a:srgbClr val="C200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F26BB8B-EB1A-CC2C-4EE2-7AEC61BD9236}"/>
              </a:ext>
            </a:extLst>
          </p:cNvPr>
          <p:cNvSpPr>
            <a:spLocks noChangeAspect="1"/>
          </p:cNvSpPr>
          <p:nvPr/>
        </p:nvSpPr>
        <p:spPr>
          <a:xfrm>
            <a:off x="5917897" y="3378238"/>
            <a:ext cx="1080000" cy="1080000"/>
          </a:xfrm>
          <a:prstGeom prst="ellipse">
            <a:avLst/>
          </a:prstGeom>
          <a:solidFill>
            <a:srgbClr val="C200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BB80A6-8F4D-F15A-A677-D789A003CAF7}"/>
              </a:ext>
            </a:extLst>
          </p:cNvPr>
          <p:cNvSpPr/>
          <p:nvPr/>
        </p:nvSpPr>
        <p:spPr bwMode="auto">
          <a:xfrm>
            <a:off x="7211234" y="3378240"/>
            <a:ext cx="3851631" cy="107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 dirty="0">
                <a:solidFill>
                  <a:srgbClr val="C2005A"/>
                </a:solidFill>
                <a:latin typeface="Gotham Rounded Medium" pitchFamily="50" charset="0"/>
                <a:cs typeface="Arial" pitchFamily="34" charset="0"/>
              </a:rPr>
              <a:t>Opportunity: supply chains as a lever for national advantage 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C2005A"/>
              </a:solidFill>
              <a:effectLst/>
              <a:uLnTx/>
              <a:uFillTx/>
              <a:latin typeface="Gotham Rounded Medium" pitchFamily="50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D776BE-4364-FAD7-3719-2AA6E17A09B2}"/>
              </a:ext>
            </a:extLst>
          </p:cNvPr>
          <p:cNvSpPr/>
          <p:nvPr/>
        </p:nvSpPr>
        <p:spPr bwMode="auto">
          <a:xfrm>
            <a:off x="1728350" y="1608256"/>
            <a:ext cx="3851631" cy="1079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 dirty="0">
                <a:solidFill>
                  <a:srgbClr val="C2005A"/>
                </a:solidFill>
                <a:latin typeface="Gotham Rounded Medium" pitchFamily="50" charset="0"/>
                <a:cs typeface="Arial" pitchFamily="34" charset="0"/>
              </a:rPr>
              <a:t>NZ lags in OECD productivity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C2005A"/>
              </a:solidFill>
              <a:effectLst/>
              <a:uLnTx/>
              <a:uFillTx/>
              <a:latin typeface="Gotham Rounded Medium" pitchFamily="50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3DEDCA-478C-2168-A907-DC983800E40B}"/>
              </a:ext>
            </a:extLst>
          </p:cNvPr>
          <p:cNvSpPr/>
          <p:nvPr/>
        </p:nvSpPr>
        <p:spPr bwMode="auto">
          <a:xfrm>
            <a:off x="1728350" y="3378240"/>
            <a:ext cx="3851631" cy="1079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C2005A"/>
                </a:solidFill>
                <a:effectLst/>
                <a:uLnTx/>
                <a:uFillTx/>
                <a:latin typeface="Gotham Rounded Medium" pitchFamily="50" charset="0"/>
                <a:cs typeface="Arial" pitchFamily="34" charset="0"/>
              </a:rPr>
              <a:t>Delays, mismatches, duplication add cos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24699-7F15-6325-FFD2-926109AA2571}"/>
              </a:ext>
            </a:extLst>
          </p:cNvPr>
          <p:cNvSpPr/>
          <p:nvPr/>
        </p:nvSpPr>
        <p:spPr bwMode="auto">
          <a:xfrm>
            <a:off x="7211234" y="1576306"/>
            <a:ext cx="3851631" cy="1079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C2005A"/>
                </a:solidFill>
                <a:effectLst/>
                <a:uLnTx/>
                <a:uFillTx/>
                <a:latin typeface="Gotham Rounded Medium" pitchFamily="50" charset="0"/>
                <a:cs typeface="Arial" pitchFamily="34" charset="0"/>
              </a:rPr>
              <a:t>Supply chain inefficiencies = lost competitiveness </a:t>
            </a:r>
          </a:p>
        </p:txBody>
      </p:sp>
      <p:pic>
        <p:nvPicPr>
          <p:cNvPr id="13" name="Picture 12" descr="A black and white logo&#10;&#10;AI-generated content may be incorrect.">
            <a:extLst>
              <a:ext uri="{FF2B5EF4-FFF2-40B4-BE49-F238E27FC236}">
                <a16:creationId xmlns:a16="http://schemas.microsoft.com/office/drawing/2014/main" id="{5E5E2951-20F6-66B3-41CE-1A914CB64A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353" y="5290709"/>
            <a:ext cx="4296905" cy="1196393"/>
          </a:xfrm>
          <a:prstGeom prst="rect">
            <a:avLst/>
          </a:prstGeom>
        </p:spPr>
      </p:pic>
      <p:pic>
        <p:nvPicPr>
          <p:cNvPr id="15" name="Graphic 14" descr="Bar graph with upward trend with solid fill">
            <a:extLst>
              <a:ext uri="{FF2B5EF4-FFF2-40B4-BE49-F238E27FC236}">
                <a16:creationId xmlns:a16="http://schemas.microsoft.com/office/drawing/2014/main" id="{D660D15F-3FD3-CC84-A084-523B5A96DB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7260" y="1671595"/>
            <a:ext cx="914400" cy="914400"/>
          </a:xfrm>
          <a:prstGeom prst="rect">
            <a:avLst/>
          </a:prstGeom>
        </p:spPr>
      </p:pic>
      <p:pic>
        <p:nvPicPr>
          <p:cNvPr id="21" name="graph_1_arrow_down">
            <a:extLst>
              <a:ext uri="{FF2B5EF4-FFF2-40B4-BE49-F238E27FC236}">
                <a16:creationId xmlns:a16="http://schemas.microsoft.com/office/drawing/2014/main" id="{FA3E7802-39BC-91C0-76CC-9E87C29A94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57847" y="1764019"/>
            <a:ext cx="800100" cy="635000"/>
          </a:xfrm>
          <a:prstGeom prst="rect">
            <a:avLst/>
          </a:prstGeom>
        </p:spPr>
      </p:pic>
      <p:pic>
        <p:nvPicPr>
          <p:cNvPr id="25" name="Graphic 24" descr="Stopwatch 66% with solid fill">
            <a:extLst>
              <a:ext uri="{FF2B5EF4-FFF2-40B4-BE49-F238E27FC236}">
                <a16:creationId xmlns:a16="http://schemas.microsoft.com/office/drawing/2014/main" id="{BD446FE7-580A-F26A-66B3-2743C17EF5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0613" y="3429000"/>
            <a:ext cx="914400" cy="914400"/>
          </a:xfrm>
          <a:prstGeom prst="rect">
            <a:avLst/>
          </a:prstGeom>
        </p:spPr>
      </p:pic>
      <p:pic>
        <p:nvPicPr>
          <p:cNvPr id="27" name="Graphic 26" descr="Earth globe: Asia and Australia with solid fill">
            <a:extLst>
              <a:ext uri="{FF2B5EF4-FFF2-40B4-BE49-F238E27FC236}">
                <a16:creationId xmlns:a16="http://schemas.microsoft.com/office/drawing/2014/main" id="{10DDEC0A-6F6C-DAB5-0CA8-628A38A8C7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00697" y="3429000"/>
            <a:ext cx="914400" cy="9144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C254E27-251E-02A3-502C-DED77540E480}"/>
              </a:ext>
            </a:extLst>
          </p:cNvPr>
          <p:cNvSpPr txBox="1"/>
          <p:nvPr/>
        </p:nvSpPr>
        <p:spPr>
          <a:xfrm>
            <a:off x="5633258" y="5446871"/>
            <a:ext cx="6558742" cy="51473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sz="2400" dirty="0">
                <a:solidFill>
                  <a:srgbClr val="C2005A"/>
                </a:solidFill>
                <a:latin typeface="Gotham Rounded Medium" pitchFamily="50" charset="0"/>
              </a:rPr>
              <a:t>Platform to address these challenges together</a:t>
            </a:r>
          </a:p>
        </p:txBody>
      </p:sp>
    </p:spTree>
    <p:extLst>
      <p:ext uri="{BB962C8B-B14F-4D97-AF65-F5344CB8AC3E}">
        <p14:creationId xmlns:p14="http://schemas.microsoft.com/office/powerpoint/2010/main" val="3291018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2F020-743A-EFD9-290D-9A343E121F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2005A"/>
                </a:solidFill>
                <a:latin typeface="Gotham Rounded Medium" pitchFamily="50" charset="0"/>
              </a:rPr>
              <a:t>Collaboration- Breaking Down Silos</a:t>
            </a:r>
          </a:p>
        </p:txBody>
      </p:sp>
      <p:pic>
        <p:nvPicPr>
          <p:cNvPr id="5" name="Picture 4" descr="A light bulb surrounded by people&#10;&#10;AI-generated content may be incorrect.">
            <a:extLst>
              <a:ext uri="{FF2B5EF4-FFF2-40B4-BE49-F238E27FC236}">
                <a16:creationId xmlns:a16="http://schemas.microsoft.com/office/drawing/2014/main" id="{EC15D7E7-5E37-AFD0-CB51-38E83F8E64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412" y="316798"/>
            <a:ext cx="2898488" cy="2429797"/>
          </a:xfrm>
          <a:prstGeom prst="rect">
            <a:avLst/>
          </a:prstGeom>
        </p:spPr>
      </p:pic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0FA1E169-C378-D55C-48EB-F091CFC57D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616" y="5375835"/>
            <a:ext cx="4296905" cy="11963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96D0CF2-CA87-656A-876D-E2FF2C4794FB}"/>
              </a:ext>
            </a:extLst>
          </p:cNvPr>
          <p:cNvSpPr txBox="1"/>
          <p:nvPr/>
        </p:nvSpPr>
        <p:spPr>
          <a:xfrm>
            <a:off x="5465521" y="5536568"/>
            <a:ext cx="6558742" cy="88407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sz="2400" dirty="0">
                <a:solidFill>
                  <a:srgbClr val="C2005A"/>
                </a:solidFill>
                <a:latin typeface="Gotham Rounded Medium" pitchFamily="50" charset="0"/>
              </a:rPr>
              <a:t>Association as catalyst: forum for trust, transparency, shared solu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A21D21-5980-0956-F0E7-9CFBB929CF02}"/>
              </a:ext>
            </a:extLst>
          </p:cNvPr>
          <p:cNvSpPr txBox="1"/>
          <p:nvPr/>
        </p:nvSpPr>
        <p:spPr>
          <a:xfrm>
            <a:off x="431250" y="1278313"/>
            <a:ext cx="7716823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Current issue: fragmented players optimising for themselves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C68178CB-71AF-BB9A-7171-5078E27D326E}"/>
              </a:ext>
            </a:extLst>
          </p:cNvPr>
          <p:cNvSpPr/>
          <p:nvPr/>
        </p:nvSpPr>
        <p:spPr bwMode="auto">
          <a:xfrm>
            <a:off x="431250" y="2607418"/>
            <a:ext cx="2535636" cy="2429796"/>
          </a:xfrm>
          <a:prstGeom prst="flowChartConnector">
            <a:avLst/>
          </a:prstGeom>
          <a:solidFill>
            <a:srgbClr val="C2005A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7C6E1B43-0630-1005-C8B7-143720CFE2FB}"/>
              </a:ext>
            </a:extLst>
          </p:cNvPr>
          <p:cNvSpPr/>
          <p:nvPr/>
        </p:nvSpPr>
        <p:spPr bwMode="auto">
          <a:xfrm>
            <a:off x="3613432" y="2613259"/>
            <a:ext cx="2535636" cy="2429796"/>
          </a:xfrm>
          <a:prstGeom prst="flowChartConnector">
            <a:avLst/>
          </a:prstGeom>
          <a:solidFill>
            <a:srgbClr val="C2005A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5C914274-FA96-181F-5A58-207755C876D7}"/>
              </a:ext>
            </a:extLst>
          </p:cNvPr>
          <p:cNvSpPr/>
          <p:nvPr/>
        </p:nvSpPr>
        <p:spPr bwMode="auto">
          <a:xfrm>
            <a:off x="6806864" y="2613259"/>
            <a:ext cx="2535636" cy="2429796"/>
          </a:xfrm>
          <a:prstGeom prst="flowChartConnector">
            <a:avLst/>
          </a:prstGeom>
          <a:solidFill>
            <a:srgbClr val="C2005A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EC5622-20E4-EC30-39CE-79C1FB79B054}"/>
              </a:ext>
            </a:extLst>
          </p:cNvPr>
          <p:cNvSpPr txBox="1"/>
          <p:nvPr/>
        </p:nvSpPr>
        <p:spPr>
          <a:xfrm>
            <a:off x="810363" y="3164333"/>
            <a:ext cx="1754909" cy="125340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800" dirty="0">
                <a:solidFill>
                  <a:srgbClr val="FFFFFF"/>
                </a:solidFill>
                <a:latin typeface="Gotham Rounded Book" pitchFamily="50" charset="0"/>
              </a:rPr>
              <a:t>Collaboration improves efficiency &amp; resil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D4A5BF-F6A5-702D-A36A-D9E031C57656}"/>
              </a:ext>
            </a:extLst>
          </p:cNvPr>
          <p:cNvSpPr txBox="1"/>
          <p:nvPr/>
        </p:nvSpPr>
        <p:spPr>
          <a:xfrm>
            <a:off x="3909038" y="2924456"/>
            <a:ext cx="1944423" cy="125340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800" dirty="0">
                <a:solidFill>
                  <a:srgbClr val="FFFFFF"/>
                </a:solidFill>
                <a:latin typeface="Gotham Rounded Book" pitchFamily="50" charset="0"/>
              </a:rPr>
              <a:t>Examples: shared data, coordinated planning, fewer empty contain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0898506-294E-20B6-5F9D-A49097AE6FB3}"/>
              </a:ext>
            </a:extLst>
          </p:cNvPr>
          <p:cNvSpPr txBox="1"/>
          <p:nvPr/>
        </p:nvSpPr>
        <p:spPr>
          <a:xfrm>
            <a:off x="7002045" y="3062956"/>
            <a:ext cx="2145273" cy="153040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800" dirty="0">
                <a:solidFill>
                  <a:srgbClr val="FFFFFF"/>
                </a:solidFill>
                <a:latin typeface="Gotham Rounded Book" pitchFamily="50" charset="0"/>
              </a:rPr>
              <a:t>Global lessons: Europe (rail/port integration), Singapore (data visibility)</a:t>
            </a:r>
          </a:p>
        </p:txBody>
      </p:sp>
    </p:spTree>
    <p:extLst>
      <p:ext uri="{BB962C8B-B14F-4D97-AF65-F5344CB8AC3E}">
        <p14:creationId xmlns:p14="http://schemas.microsoft.com/office/powerpoint/2010/main" val="36376803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31000"/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37BB0-1B81-009C-A9D3-1CAB516861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B40646"/>
                </a:solidFill>
                <a:latin typeface="Gotham Rounded Medium" pitchFamily="50" charset="0"/>
              </a:rPr>
              <a:t>Innovation- Doing Things Differently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3E3084-3D58-35C2-3470-203AEA32EF65}"/>
              </a:ext>
            </a:extLst>
          </p:cNvPr>
          <p:cNvSpPr/>
          <p:nvPr/>
        </p:nvSpPr>
        <p:spPr>
          <a:xfrm>
            <a:off x="1226920" y="2439011"/>
            <a:ext cx="64118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l" defTabSz="711200" eaLnBrk="1" fontAlgn="auto" hangingPunct="1">
              <a:spcBef>
                <a:spcPts val="840"/>
              </a:spcBef>
              <a:spcAft>
                <a:spcPts val="0"/>
              </a:spcAft>
              <a:buClr>
                <a:srgbClr val="C2C2C2"/>
              </a:buClr>
              <a:buSzPct val="77000"/>
              <a:defRPr/>
            </a:pPr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Multimodal Optimisation: </a:t>
            </a:r>
            <a:r>
              <a:rPr lang="en-GB" sz="1600" dirty="0">
                <a:solidFill>
                  <a:srgbClr val="C2005A"/>
                </a:solidFill>
                <a:latin typeface="Gotham Rounded Medium" pitchFamily="50" charset="0"/>
              </a:rPr>
              <a:t>road, rail, sea, low-emission mod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AF45EA-3921-0CD1-EB71-FD399532BE97}"/>
              </a:ext>
            </a:extLst>
          </p:cNvPr>
          <p:cNvSpPr/>
          <p:nvPr/>
        </p:nvSpPr>
        <p:spPr>
          <a:xfrm>
            <a:off x="1226920" y="1268033"/>
            <a:ext cx="65501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l" defTabSz="711200" eaLnBrk="1" fontAlgn="auto" hangingPunct="1">
              <a:spcBef>
                <a:spcPts val="840"/>
              </a:spcBef>
              <a:spcAft>
                <a:spcPts val="0"/>
              </a:spcAft>
              <a:buClr>
                <a:srgbClr val="C2C2C2"/>
              </a:buClr>
              <a:buSzPct val="77000"/>
              <a:defRPr/>
            </a:pPr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Digitalisation: </a:t>
            </a:r>
            <a:r>
              <a:rPr lang="en-GB" sz="1600" dirty="0">
                <a:solidFill>
                  <a:srgbClr val="C2005A"/>
                </a:solidFill>
                <a:latin typeface="Gotham Rounded Medium" pitchFamily="50" charset="0"/>
              </a:rPr>
              <a:t>Real-time data, predictive analytics, digital freight platform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EF739D9-FDE0-CCB7-8C59-99539B2968D6}"/>
              </a:ext>
            </a:extLst>
          </p:cNvPr>
          <p:cNvSpPr/>
          <p:nvPr/>
        </p:nvSpPr>
        <p:spPr>
          <a:xfrm>
            <a:off x="1224366" y="3654672"/>
            <a:ext cx="70122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l" defTabSz="711200" eaLnBrk="1" fontAlgn="auto" hangingPunct="1">
              <a:spcBef>
                <a:spcPts val="840"/>
              </a:spcBef>
              <a:spcAft>
                <a:spcPts val="0"/>
              </a:spcAft>
              <a:buClr>
                <a:srgbClr val="C2C2C2"/>
              </a:buClr>
              <a:buSzPct val="77000"/>
              <a:defRPr/>
            </a:pPr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New models: </a:t>
            </a:r>
            <a:r>
              <a:rPr lang="en-GB" sz="1600" dirty="0">
                <a:solidFill>
                  <a:srgbClr val="C2005A"/>
                </a:solidFill>
                <a:latin typeface="Gotham Rounded Medium" pitchFamily="50" charset="0"/>
              </a:rPr>
              <a:t>collaborative hubs, 4PL, shared warehous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6AC8C9-19A0-9600-779B-04AF5E30FC03}"/>
              </a:ext>
            </a:extLst>
          </p:cNvPr>
          <p:cNvSpPr/>
          <p:nvPr/>
        </p:nvSpPr>
        <p:spPr>
          <a:xfrm>
            <a:off x="1224366" y="4792937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 algn="l" defTabSz="711200" eaLnBrk="1" fontAlgn="auto" hangingPunct="1">
              <a:spcBef>
                <a:spcPts val="840"/>
              </a:spcBef>
              <a:spcAft>
                <a:spcPts val="0"/>
              </a:spcAft>
              <a:buClr>
                <a:srgbClr val="C2C2C2"/>
              </a:buClr>
              <a:buSzPct val="77000"/>
              <a:defRPr/>
            </a:pPr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Skills for strategic supply chain leadership</a:t>
            </a:r>
          </a:p>
        </p:txBody>
      </p:sp>
      <p:pic>
        <p:nvPicPr>
          <p:cNvPr id="15" name="Picture 14" descr="A computer with a gear and icons around it&#10;&#10;AI-generated content may be incorrect.">
            <a:extLst>
              <a:ext uri="{FF2B5EF4-FFF2-40B4-BE49-F238E27FC236}">
                <a16:creationId xmlns:a16="http://schemas.microsoft.com/office/drawing/2014/main" id="{A7F2A700-8972-4E8B-7D16-884C5AA069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15" y="980522"/>
            <a:ext cx="1293386" cy="1084242"/>
          </a:xfrm>
          <a:prstGeom prst="rect">
            <a:avLst/>
          </a:prstGeom>
        </p:spPr>
      </p:pic>
      <p:pic>
        <p:nvPicPr>
          <p:cNvPr id="17" name="Graphic 16" descr="Delivery with solid fill">
            <a:extLst>
              <a:ext uri="{FF2B5EF4-FFF2-40B4-BE49-F238E27FC236}">
                <a16:creationId xmlns:a16="http://schemas.microsoft.com/office/drawing/2014/main" id="{A74D0006-68BF-B862-7E11-E7CD45AE14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2520" y="2271951"/>
            <a:ext cx="914400" cy="914400"/>
          </a:xfrm>
          <a:prstGeom prst="rect">
            <a:avLst/>
          </a:prstGeom>
        </p:spPr>
      </p:pic>
      <p:pic>
        <p:nvPicPr>
          <p:cNvPr id="19" name="Graphic 18" descr="Blockchain outline">
            <a:extLst>
              <a:ext uri="{FF2B5EF4-FFF2-40B4-BE49-F238E27FC236}">
                <a16:creationId xmlns:a16="http://schemas.microsoft.com/office/drawing/2014/main" id="{EA6A5B35-E619-EB6D-6FAE-47D6E2430D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9966" y="3353411"/>
            <a:ext cx="914400" cy="914400"/>
          </a:xfrm>
          <a:prstGeom prst="rect">
            <a:avLst/>
          </a:prstGeom>
        </p:spPr>
      </p:pic>
      <p:pic>
        <p:nvPicPr>
          <p:cNvPr id="21" name="Graphic 20" descr="Artificial Intelligence with solid fill">
            <a:extLst>
              <a:ext uri="{FF2B5EF4-FFF2-40B4-BE49-F238E27FC236}">
                <a16:creationId xmlns:a16="http://schemas.microsoft.com/office/drawing/2014/main" id="{A0CD41BD-53B3-D5FA-7236-7868790182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2908" y="4469459"/>
            <a:ext cx="914400" cy="914400"/>
          </a:xfrm>
          <a:prstGeom prst="rect">
            <a:avLst/>
          </a:prstGeom>
        </p:spPr>
      </p:pic>
      <p:pic>
        <p:nvPicPr>
          <p:cNvPr id="22" name="Picture 21" descr="A black and white logo&#10;&#10;AI-generated content may be incorrect.">
            <a:extLst>
              <a:ext uri="{FF2B5EF4-FFF2-40B4-BE49-F238E27FC236}">
                <a16:creationId xmlns:a16="http://schemas.microsoft.com/office/drawing/2014/main" id="{D528A2EF-EA49-54E9-0F56-0E12F79E41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31" y="5585507"/>
            <a:ext cx="4175141" cy="116249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65D0586-4042-97B7-0A6F-5D5BB7A72699}"/>
              </a:ext>
            </a:extLst>
          </p:cNvPr>
          <p:cNvSpPr txBox="1"/>
          <p:nvPr/>
        </p:nvSpPr>
        <p:spPr>
          <a:xfrm>
            <a:off x="5146109" y="5931202"/>
            <a:ext cx="6558742" cy="51473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sz="2400" dirty="0">
                <a:solidFill>
                  <a:srgbClr val="C2005A"/>
                </a:solidFill>
                <a:latin typeface="Gotham Rounded Medium" pitchFamily="50" charset="0"/>
              </a:rPr>
              <a:t>Piloting new ideas, creating a learning community</a:t>
            </a:r>
          </a:p>
        </p:txBody>
      </p:sp>
    </p:spTree>
    <p:extLst>
      <p:ext uri="{BB962C8B-B14F-4D97-AF65-F5344CB8AC3E}">
        <p14:creationId xmlns:p14="http://schemas.microsoft.com/office/powerpoint/2010/main" val="3687429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A3B22D-8CDC-4EC5-E6F2-0B3454B677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A3BD2-1C99-C979-B67D-44EE02791E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2005A"/>
                </a:solidFill>
                <a:latin typeface="Gotham Rounded Medium" pitchFamily="50" charset="0"/>
              </a:rPr>
              <a:t>Global Context – Playing on the World Stage</a:t>
            </a:r>
          </a:p>
        </p:txBody>
      </p:sp>
      <p:pic>
        <p:nvPicPr>
          <p:cNvPr id="10" name="Content Placeholder 9" descr="A blue and green planet&#10;&#10;AI-generated content may be incorrect.">
            <a:extLst>
              <a:ext uri="{FF2B5EF4-FFF2-40B4-BE49-F238E27FC236}">
                <a16:creationId xmlns:a16="http://schemas.microsoft.com/office/drawing/2014/main" id="{6F0C0916-BD99-3EBE-B2BE-EEF677A89C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75" t="23745" r="27453" b="22351"/>
          <a:stretch>
            <a:fillRect/>
          </a:stretch>
        </p:blipFill>
        <p:spPr>
          <a:xfrm>
            <a:off x="588698" y="2171515"/>
            <a:ext cx="2451085" cy="2353042"/>
          </a:xfrm>
        </p:spPr>
      </p:pic>
      <p:pic>
        <p:nvPicPr>
          <p:cNvPr id="8" name="Picture 7" descr="A black and white logo&#10;&#10;AI-generated content may be incorrect.">
            <a:extLst>
              <a:ext uri="{FF2B5EF4-FFF2-40B4-BE49-F238E27FC236}">
                <a16:creationId xmlns:a16="http://schemas.microsoft.com/office/drawing/2014/main" id="{D0E9F6A6-4B87-2328-8471-DC2FCCF09A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9331" y="5911273"/>
            <a:ext cx="3724633" cy="103705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24C669B-5725-1260-F24C-374D4457DE54}"/>
              </a:ext>
            </a:extLst>
          </p:cNvPr>
          <p:cNvSpPr txBox="1"/>
          <p:nvPr/>
        </p:nvSpPr>
        <p:spPr>
          <a:xfrm>
            <a:off x="5213258" y="6159315"/>
            <a:ext cx="6558742" cy="51473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en-GB" sz="2400" dirty="0">
                <a:solidFill>
                  <a:srgbClr val="C2005A"/>
                </a:solidFill>
                <a:latin typeface="Gotham Rounded Medium" pitchFamily="50" charset="0"/>
              </a:rPr>
              <a:t>Helps NZ connect &amp; compete globally</a:t>
            </a:r>
          </a:p>
        </p:txBody>
      </p:sp>
      <p:pic>
        <p:nvPicPr>
          <p:cNvPr id="12" name="Picture 11" descr="A blue circle with red stars and a flag&#10;&#10;AI-generated content may be incorrect.">
            <a:extLst>
              <a:ext uri="{FF2B5EF4-FFF2-40B4-BE49-F238E27FC236}">
                <a16:creationId xmlns:a16="http://schemas.microsoft.com/office/drawing/2014/main" id="{F855A218-C6FE-73EE-E459-899D8563C5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26" t="24524" r="26929" b="22407"/>
          <a:stretch>
            <a:fillRect/>
          </a:stretch>
        </p:blipFill>
        <p:spPr>
          <a:xfrm>
            <a:off x="3057235" y="2235718"/>
            <a:ext cx="2389549" cy="228883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14145B9-D76F-E70A-4EDC-C8196ACA866E}"/>
              </a:ext>
            </a:extLst>
          </p:cNvPr>
          <p:cNvSpPr txBox="1"/>
          <p:nvPr/>
        </p:nvSpPr>
        <p:spPr>
          <a:xfrm>
            <a:off x="7068248" y="2419558"/>
            <a:ext cx="4535054" cy="2115176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 algn="l">
              <a:spcBef>
                <a:spcPts val="840"/>
              </a:spcBef>
              <a:spcAft>
                <a:spcPts val="0"/>
              </a:spcAft>
              <a:buClr>
                <a:srgbClr val="C2C2C2"/>
              </a:buClr>
              <a:buSzPct val="77000"/>
              <a:buFont typeface="Wingdings 3" panose="05040102010807070707" pitchFamily="18" charset="2"/>
              <a:buChar char=""/>
            </a:pPr>
            <a:r>
              <a:rPr lang="en-GB" sz="1800" dirty="0">
                <a:solidFill>
                  <a:srgbClr val="C2005A"/>
                </a:solidFill>
                <a:latin typeface="Gotham Rounded Book" pitchFamily="50" charset="0"/>
              </a:rPr>
              <a:t>NZ deeply linked to global flows</a:t>
            </a:r>
          </a:p>
          <a:p>
            <a:pPr marL="180000" indent="-180000" algn="l">
              <a:spcBef>
                <a:spcPts val="840"/>
              </a:spcBef>
              <a:spcAft>
                <a:spcPts val="0"/>
              </a:spcAft>
              <a:buClr>
                <a:srgbClr val="C2C2C2"/>
              </a:buClr>
              <a:buSzPct val="77000"/>
              <a:buFont typeface="Wingdings 3" panose="05040102010807070707" pitchFamily="18" charset="2"/>
              <a:buChar char=""/>
            </a:pPr>
            <a:r>
              <a:rPr lang="en-GB" sz="1800" dirty="0">
                <a:solidFill>
                  <a:srgbClr val="C2005A"/>
                </a:solidFill>
                <a:latin typeface="Gotham Rounded Book" pitchFamily="50" charset="0"/>
              </a:rPr>
              <a:t>If slow, costly, unreliable -&gt; we lose competitiveness</a:t>
            </a:r>
          </a:p>
          <a:p>
            <a:pPr marL="180000" indent="-180000" algn="l">
              <a:spcBef>
                <a:spcPts val="840"/>
              </a:spcBef>
              <a:spcAft>
                <a:spcPts val="0"/>
              </a:spcAft>
              <a:buClr>
                <a:srgbClr val="C2C2C2"/>
              </a:buClr>
              <a:buSzPct val="77000"/>
              <a:buFont typeface="Wingdings 3" panose="05040102010807070707" pitchFamily="18" charset="2"/>
              <a:buChar char=""/>
            </a:pPr>
            <a:r>
              <a:rPr lang="en-GB" sz="1800" dirty="0">
                <a:solidFill>
                  <a:srgbClr val="C2005A"/>
                </a:solidFill>
                <a:latin typeface="Gotham Rounded Book" pitchFamily="50" charset="0"/>
              </a:rPr>
              <a:t>Competitors advancing with digital clearance, green shipping corridors</a:t>
            </a:r>
          </a:p>
          <a:p>
            <a:pPr marL="180000" indent="-180000" algn="l">
              <a:spcBef>
                <a:spcPts val="840"/>
              </a:spcBef>
              <a:spcAft>
                <a:spcPts val="0"/>
              </a:spcAft>
              <a:buClr>
                <a:srgbClr val="C2C2C2"/>
              </a:buClr>
              <a:buSzPct val="77000"/>
              <a:buFont typeface="Wingdings 3" panose="05040102010807070707" pitchFamily="18" charset="2"/>
              <a:buChar char=""/>
            </a:pPr>
            <a:r>
              <a:rPr lang="en-GB" sz="1800" dirty="0">
                <a:solidFill>
                  <a:srgbClr val="C2005A"/>
                </a:solidFill>
                <a:latin typeface="Gotham Rounded Book" pitchFamily="50" charset="0"/>
              </a:rPr>
              <a:t>NZ must keep pace or risk falling behind</a:t>
            </a:r>
          </a:p>
        </p:txBody>
      </p:sp>
    </p:spTree>
    <p:extLst>
      <p:ext uri="{BB962C8B-B14F-4D97-AF65-F5344CB8AC3E}">
        <p14:creationId xmlns:p14="http://schemas.microsoft.com/office/powerpoint/2010/main" val="2984186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82C62-4D61-5F56-DA87-61013DFD4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2005A"/>
                </a:solidFill>
                <a:latin typeface="Gotham Rounded Medium" pitchFamily="50" charset="0"/>
              </a:rPr>
              <a:t>Call to Action</a:t>
            </a:r>
          </a:p>
        </p:txBody>
      </p:sp>
      <p:pic>
        <p:nvPicPr>
          <p:cNvPr id="9" name="Picture 8" descr="A pink light bulb and two people&#10;&#10;AI-generated content may be incorrect.">
            <a:extLst>
              <a:ext uri="{FF2B5EF4-FFF2-40B4-BE49-F238E27FC236}">
                <a16:creationId xmlns:a16="http://schemas.microsoft.com/office/drawing/2014/main" id="{C293FFEE-3B04-792A-C918-FBD84A72D2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1" t="11520" r="19066" b="9616"/>
          <a:stretch>
            <a:fillRect/>
          </a:stretch>
        </p:blipFill>
        <p:spPr>
          <a:xfrm>
            <a:off x="1701339" y="2044374"/>
            <a:ext cx="1754910" cy="1844728"/>
          </a:xfrm>
          <a:prstGeom prst="rect">
            <a:avLst/>
          </a:prstGeom>
        </p:spPr>
      </p:pic>
      <p:pic>
        <p:nvPicPr>
          <p:cNvPr id="11" name="Picture 10" descr="A hand holding a plant with coins and leaves&#10;&#10;AI-generated content may be incorrect.">
            <a:extLst>
              <a:ext uri="{FF2B5EF4-FFF2-40B4-BE49-F238E27FC236}">
                <a16:creationId xmlns:a16="http://schemas.microsoft.com/office/drawing/2014/main" id="{A9178033-24BA-D67C-9DE6-AC442554BF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92" t="6533" r="14169" b="12337"/>
          <a:stretch>
            <a:fillRect/>
          </a:stretch>
        </p:blipFill>
        <p:spPr>
          <a:xfrm>
            <a:off x="5056909" y="2003137"/>
            <a:ext cx="2078182" cy="1927203"/>
          </a:xfrm>
          <a:prstGeom prst="rect">
            <a:avLst/>
          </a:prstGeom>
        </p:spPr>
      </p:pic>
      <p:pic>
        <p:nvPicPr>
          <p:cNvPr id="15" name="Picture 14" descr="A pink light bulb with a brain inside&#10;&#10;AI-generated content may be incorrect.">
            <a:extLst>
              <a:ext uri="{FF2B5EF4-FFF2-40B4-BE49-F238E27FC236}">
                <a16:creationId xmlns:a16="http://schemas.microsoft.com/office/drawing/2014/main" id="{2484DAFE-2609-59E3-EC4E-6DAFF1C093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06" t="11929" r="17742" b="12392"/>
          <a:stretch>
            <a:fillRect/>
          </a:stretch>
        </p:blipFill>
        <p:spPr>
          <a:xfrm>
            <a:off x="8735751" y="1895646"/>
            <a:ext cx="2196362" cy="205970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DC57891-80BF-93A6-C384-C42B001E71B6}"/>
              </a:ext>
            </a:extLst>
          </p:cNvPr>
          <p:cNvSpPr txBox="1"/>
          <p:nvPr/>
        </p:nvSpPr>
        <p:spPr>
          <a:xfrm>
            <a:off x="1862975" y="4156409"/>
            <a:ext cx="1431637" cy="153040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EMBRACE </a:t>
            </a:r>
            <a:r>
              <a:rPr lang="en-GB" sz="1800" b="1" dirty="0">
                <a:solidFill>
                  <a:srgbClr val="C2005A"/>
                </a:solidFill>
                <a:latin typeface="Gotham Rounded Medium" pitchFamily="50" charset="0"/>
              </a:rPr>
              <a:t>collaborative frameworks </a:t>
            </a:r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(e.g. Association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83CC7FD-5FB0-B097-F07E-B194B6A9C68F}"/>
              </a:ext>
            </a:extLst>
          </p:cNvPr>
          <p:cNvSpPr txBox="1"/>
          <p:nvPr/>
        </p:nvSpPr>
        <p:spPr>
          <a:xfrm>
            <a:off x="5380181" y="4156409"/>
            <a:ext cx="1431637" cy="153040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INVEST in </a:t>
            </a:r>
            <a:r>
              <a:rPr lang="en-GB" sz="1800" b="1" dirty="0">
                <a:solidFill>
                  <a:srgbClr val="C2005A"/>
                </a:solidFill>
                <a:latin typeface="Gotham Rounded Medium" pitchFamily="50" charset="0"/>
              </a:rPr>
              <a:t>innovation</a:t>
            </a:r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: tools, infrastructure, skill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44CFDA7-43E6-1480-0F73-0A03ABFE04F2}"/>
              </a:ext>
            </a:extLst>
          </p:cNvPr>
          <p:cNvSpPr txBox="1"/>
          <p:nvPr/>
        </p:nvSpPr>
        <p:spPr>
          <a:xfrm>
            <a:off x="9118113" y="4156409"/>
            <a:ext cx="1431637" cy="180740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800" b="1" dirty="0">
                <a:solidFill>
                  <a:srgbClr val="C2005A"/>
                </a:solidFill>
                <a:latin typeface="Gotham Rounded Medium" pitchFamily="50" charset="0"/>
              </a:rPr>
              <a:t>SHIFT MINDSET</a:t>
            </a:r>
            <a:r>
              <a:rPr lang="en-GB" sz="1800" dirty="0">
                <a:solidFill>
                  <a:srgbClr val="C2005A"/>
                </a:solidFill>
                <a:latin typeface="Gotham Rounded Medium" pitchFamily="50" charset="0"/>
              </a:rPr>
              <a:t>: Supply chins = strategic national asset</a:t>
            </a:r>
          </a:p>
        </p:txBody>
      </p:sp>
    </p:spTree>
    <p:extLst>
      <p:ext uri="{BB962C8B-B14F-4D97-AF65-F5344CB8AC3E}">
        <p14:creationId xmlns:p14="http://schemas.microsoft.com/office/powerpoint/2010/main" val="18657832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31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C250D9-8906-6199-368D-47581686D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2005A"/>
                </a:solidFill>
                <a:latin typeface="Gotham Rounded Medium" pitchFamily="50" charset="0"/>
              </a:rPr>
              <a:t>A shared Vision </a:t>
            </a:r>
          </a:p>
        </p:txBody>
      </p:sp>
      <p:pic>
        <p:nvPicPr>
          <p:cNvPr id="4" name="Picture 3" descr="A pink outline of a country&#10;&#10;AI-generated content may be incorrect.">
            <a:extLst>
              <a:ext uri="{FF2B5EF4-FFF2-40B4-BE49-F238E27FC236}">
                <a16:creationId xmlns:a16="http://schemas.microsoft.com/office/drawing/2014/main" id="{3ED84EC6-3213-FC7F-5B3D-5CED3F9385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45" t="12835" r="27291" b="20095"/>
          <a:stretch>
            <a:fillRect/>
          </a:stretch>
        </p:blipFill>
        <p:spPr>
          <a:xfrm>
            <a:off x="8224175" y="614772"/>
            <a:ext cx="4531217" cy="598553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FE52867-7373-70CA-179F-FB2ED630108D}"/>
              </a:ext>
            </a:extLst>
          </p:cNvPr>
          <p:cNvSpPr txBox="1"/>
          <p:nvPr/>
        </p:nvSpPr>
        <p:spPr>
          <a:xfrm>
            <a:off x="1073848" y="1577377"/>
            <a:ext cx="6149912" cy="35925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>
              <a:spcBef>
                <a:spcPts val="840"/>
              </a:spcBef>
              <a:spcAft>
                <a:spcPts val="0"/>
              </a:spcAft>
              <a:buClr>
                <a:srgbClr val="C2C2C2"/>
              </a:buClr>
              <a:buSzPct val="77000"/>
            </a:pPr>
            <a:r>
              <a:rPr lang="en-GB" sz="3200" dirty="0">
                <a:solidFill>
                  <a:srgbClr val="C2005A"/>
                </a:solidFill>
                <a:latin typeface="Gotham Rounded Book" pitchFamily="50" charset="0"/>
              </a:rPr>
              <a:t>If we collaborate, if we innovate, and if we treat supply chain excellence as a national priority, then we will not only lift productivity – we will create a stronger, more competitive, and more sustainable New Zealand.</a:t>
            </a:r>
          </a:p>
        </p:txBody>
      </p:sp>
      <p:pic>
        <p:nvPicPr>
          <p:cNvPr id="6" name="Picture 5" descr="A black and white logo&#10;&#10;AI-generated content may be incorrect.">
            <a:extLst>
              <a:ext uri="{FF2B5EF4-FFF2-40B4-BE49-F238E27FC236}">
                <a16:creationId xmlns:a16="http://schemas.microsoft.com/office/drawing/2014/main" id="{247881A5-C0FD-9758-783A-1D0B016E69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9331" y="5911273"/>
            <a:ext cx="3724633" cy="1037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552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07CE9C2-3B6D-B9E8-689C-649EC946F451}"/>
              </a:ext>
            </a:extLst>
          </p:cNvPr>
          <p:cNvSpPr txBox="1"/>
          <p:nvPr/>
        </p:nvSpPr>
        <p:spPr>
          <a:xfrm>
            <a:off x="8791001" y="3515360"/>
            <a:ext cx="2907958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dirty="0">
                <a:solidFill>
                  <a:srgbClr val="FFFFFF"/>
                </a:solidFill>
                <a:latin typeface="Gotham Rounded Medium" pitchFamily="50" charset="0"/>
              </a:rPr>
              <a:t>Chris Foord</a:t>
            </a:r>
          </a:p>
          <a:p>
            <a:r>
              <a:rPr lang="en-GB" dirty="0">
                <a:solidFill>
                  <a:srgbClr val="FFFFFF"/>
                </a:solidFill>
                <a:latin typeface="Gotham Rounded Medium" pitchFamily="50" charset="0"/>
              </a:rPr>
              <a:t>Partner, New Zealand</a:t>
            </a:r>
          </a:p>
          <a:p>
            <a:r>
              <a:rPr lang="en-GB" dirty="0">
                <a:solidFill>
                  <a:srgbClr val="FFFFFF"/>
                </a:solidFill>
                <a:latin typeface="Gotham Rounded Medium" pitchFamily="50" charset="0"/>
              </a:rPr>
              <a:t>Chris.Foord@argonandco.com</a:t>
            </a:r>
          </a:p>
        </p:txBody>
      </p:sp>
      <p:pic>
        <p:nvPicPr>
          <p:cNvPr id="5" name="Picture 2" descr="A blue circle with white letters on it&#10;&#10;AI-generated content may be incorrect.">
            <a:extLst>
              <a:ext uri="{FF2B5EF4-FFF2-40B4-BE49-F238E27FC236}">
                <a16:creationId xmlns:a16="http://schemas.microsoft.com/office/drawing/2014/main" id="{6DFA126E-6BC5-FD0B-80A6-59808606D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3337" y="4571969"/>
            <a:ext cx="933872" cy="78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qr code on a black background&#10;&#10;AI-generated content may be incorrect.">
            <a:extLst>
              <a:ext uri="{FF2B5EF4-FFF2-40B4-BE49-F238E27FC236}">
                <a16:creationId xmlns:a16="http://schemas.microsoft.com/office/drawing/2014/main" id="{A3AB7AA4-7FFF-8487-51AC-A51B9C2504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0474" y="4409266"/>
            <a:ext cx="1275953" cy="10696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FF5E1F7-3CDD-6C6E-8141-6B83D2922A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4483" y="1728509"/>
            <a:ext cx="1660994" cy="166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160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SS7YKqVUGhhgBwrkT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YMty1UdeZo..nkxrh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p4gnE9K3wt.tdKiRE9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Z47v6xZdV8dFDbxlXZ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omPtV9TvqmYQRlG8uT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ii3EieB1U6Eq9Jsfkl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rgonCo s20en">
  <a:themeElements>
    <a:clrScheme name="Argon &amp; Co">
      <a:dk1>
        <a:srgbClr val="000000"/>
      </a:dk1>
      <a:lt1>
        <a:sysClr val="window" lastClr="FFFFFF"/>
      </a:lt1>
      <a:dk2>
        <a:srgbClr val="B40646"/>
      </a:dk2>
      <a:lt2>
        <a:srgbClr val="D9D9D9"/>
      </a:lt2>
      <a:accent1>
        <a:srgbClr val="B40646"/>
      </a:accent1>
      <a:accent2>
        <a:srgbClr val="87737B"/>
      </a:accent2>
      <a:accent3>
        <a:srgbClr val="C1B5B9"/>
      </a:accent3>
      <a:accent4>
        <a:srgbClr val="C63E1B"/>
      </a:accent4>
      <a:accent5>
        <a:srgbClr val="C2005A"/>
      </a:accent5>
      <a:accent6>
        <a:srgbClr val="901237"/>
      </a:accent6>
      <a:hlink>
        <a:srgbClr val="E75113"/>
      </a:hlink>
      <a:folHlink>
        <a:srgbClr val="9D105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 bwMode="auto">
        <a:solidFill>
          <a:schemeClr val="bg2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9388" indent="-179388" algn="l">
          <a:buClr>
            <a:schemeClr val="accent3"/>
          </a:buClr>
          <a:buSzPct val="77000"/>
          <a:buFont typeface="Wingdings 3" panose="05040102010807070707" pitchFamily="18" charset="2"/>
          <a:buChar char=""/>
          <a:defRPr sz="1400" dirty="0" smtClean="0"/>
        </a:defPPr>
      </a:lstStyle>
    </a:spDef>
    <a:lnDef>
      <a:spPr>
        <a:ln w="19050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Argon &amp; Co.potx" id="{7EC2B45B-7328-4345-95FF-7E1704585E5D}" vid="{CC65018F-6F8F-4403-9152-E0BA7ECC98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Permissions xmlns="6773da08-7890-4606-8997-581837f19fbd" xsi:nil="true"/>
    <TaxKeywordTaxHTField xmlns="1eef3e41-00d1-43b9-ad5c-c0cb3d671e47">
      <Terms xmlns="http://schemas.microsoft.com/office/infopath/2007/PartnerControls"/>
    </TaxKeywordTaxHTField>
    <Person xmlns="6773da08-7890-4606-8997-581837f19fbd">
      <UserInfo>
        <DisplayName/>
        <AccountId xsi:nil="true"/>
        <AccountType/>
      </UserInfo>
    </Person>
    <MigrationWizIdSecurityGroups xmlns="6773da08-7890-4606-8997-581837f19fbd" xsi:nil="true"/>
    <lcf76f155ced4ddcb4097134ff3c332f xmlns="6773da08-7890-4606-8997-581837f19fbd">
      <Terms xmlns="http://schemas.microsoft.com/office/infopath/2007/PartnerControls"/>
    </lcf76f155ced4ddcb4097134ff3c332f>
    <TaxCatchAll xmlns="1eef3e41-00d1-43b9-ad5c-c0cb3d671e47" xsi:nil="true"/>
    <MigrationWizIdPermissionLevels xmlns="6773da08-7890-4606-8997-581837f19fbd" xsi:nil="true"/>
    <MigrationWizIdDocumentLibraryPermissions xmlns="6773da08-7890-4606-8997-581837f19fbd" xsi:nil="true"/>
    <MigrationWizId xmlns="6773da08-7890-4606-8997-581837f19fb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3C9D7C2CACC841BE281800B7245C55" ma:contentTypeVersion="26" ma:contentTypeDescription="Create a new document." ma:contentTypeScope="" ma:versionID="3cc7bc9db557f9f74b12cafaf242feee">
  <xsd:schema xmlns:xsd="http://www.w3.org/2001/XMLSchema" xmlns:xs="http://www.w3.org/2001/XMLSchema" xmlns:p="http://schemas.microsoft.com/office/2006/metadata/properties" xmlns:ns2="6773da08-7890-4606-8997-581837f19fbd" xmlns:ns3="1eef3e41-00d1-43b9-ad5c-c0cb3d671e47" targetNamespace="http://schemas.microsoft.com/office/2006/metadata/properties" ma:root="true" ma:fieldsID="49f07ee788d3e4884b16a1e9a1a199b0" ns2:_="" ns3:_="">
    <xsd:import namespace="6773da08-7890-4606-8997-581837f19fbd"/>
    <xsd:import namespace="1eef3e41-00d1-43b9-ad5c-c0cb3d671e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MigrationWizId" minOccurs="0"/>
                <xsd:element ref="ns2:MigrationWizIdPermissions" minOccurs="0"/>
                <xsd:element ref="ns2:MigrationWizIdPermissionLevels" minOccurs="0"/>
                <xsd:element ref="ns2:MigrationWizIdDocumentLibraryPermissions" minOccurs="0"/>
                <xsd:element ref="ns2:MigrationWizIdSecurityGroups" minOccurs="0"/>
                <xsd:element ref="ns3:SharedWithUsers" minOccurs="0"/>
                <xsd:element ref="ns3:SharedWithDetails" minOccurs="0"/>
                <xsd:element ref="ns3:TaxKeywordTaxHTField" minOccurs="0"/>
                <xsd:element ref="ns2:MediaServiceObjectDetectorVersions" minOccurs="0"/>
                <xsd:element ref="ns2:MediaServiceSearchProperties" minOccurs="0"/>
                <xsd:element ref="ns2:Pers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73da08-7890-4606-8997-581837f19f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c43a7bd-a44c-4edf-9888-6ee74c7492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igrationWizId" ma:index="21" nillable="true" ma:displayName="MigrationWizId" ma:internalName="MigrationWizId">
      <xsd:simpleType>
        <xsd:restriction base="dms:Text"/>
      </xsd:simpleType>
    </xsd:element>
    <xsd:element name="MigrationWizIdPermissions" ma:index="22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23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24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25" nillable="true" ma:displayName="MigrationWizIdSecurityGroups" ma:internalName="MigrationWizIdSecurityGroups">
      <xsd:simpleType>
        <xsd:restriction base="dms:Text"/>
      </xsd:simpleType>
    </xsd:element>
    <xsd:element name="MediaServiceObjectDetectorVersions" ma:index="3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Person" ma:index="32" nillable="true" ma:displayName="Person" ma:format="Dropdown" ma:list="UserInfo" ma:SharePointGroup="0" ma:internalName="Perso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ef3e41-00d1-43b9-ad5c-c0cb3d671e4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c200487-2fce-4aad-a596-099c69c1b3b2}" ma:internalName="TaxCatchAll" ma:showField="CatchAllData" ma:web="1eef3e41-00d1-43b9-ad5c-c0cb3d671e4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9" nillable="true" ma:taxonomy="true" ma:internalName="TaxKeywordTaxHTField" ma:taxonomyFieldName="TaxKeyword" ma:displayName="Enterprise Keywords" ma:fieldId="{23f27201-bee3-471e-b2e7-b64fd8b7ca38}" ma:taxonomyMulti="true" ma:sspId="9c43a7bd-a44c-4edf-9888-6ee74c7492b7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E0265FC-20B4-4634-AD48-9B58965C29B7}">
  <ds:schemaRefs>
    <ds:schemaRef ds:uri="1eef3e41-00d1-43b9-ad5c-c0cb3d671e47"/>
    <ds:schemaRef ds:uri="http://www.w3.org/XML/1998/namespace"/>
    <ds:schemaRef ds:uri="http://purl.org/dc/dcmitype/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73da08-7890-4606-8997-581837f19fbd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CA0F86C7-33BC-4646-99C1-C9B3616AE7A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8504C5-5B81-43FE-82EA-EAD5A0C0DD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773da08-7890-4606-8997-581837f19fbd"/>
    <ds:schemaRef ds:uri="1eef3e41-00d1-43b9-ad5c-c0cb3d671e4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85b23bd-1472-4658-b2cd-bff744680942}" enabled="0" method="" siteId="{f85b23bd-1472-4658-b2cd-bff74468094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7</TotalTime>
  <Words>342</Words>
  <Application>Microsoft Office PowerPoint</Application>
  <PresentationFormat>Custom</PresentationFormat>
  <Paragraphs>4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ptos</vt:lpstr>
      <vt:lpstr>Arial</vt:lpstr>
      <vt:lpstr>Gotham Bold</vt:lpstr>
      <vt:lpstr>Gotham Rounded Book</vt:lpstr>
      <vt:lpstr>Gotham Rounded Medium</vt:lpstr>
      <vt:lpstr>Wingdings</vt:lpstr>
      <vt:lpstr>Wingdings 3</vt:lpstr>
      <vt:lpstr>ArgonCo s20en</vt:lpstr>
      <vt:lpstr>Diapositive think-cell</vt:lpstr>
      <vt:lpstr>Collaboration &amp; Innovation in NZ Supply Chains</vt:lpstr>
      <vt:lpstr>Setting the Scene</vt:lpstr>
      <vt:lpstr>The Productivity Challenge</vt:lpstr>
      <vt:lpstr>Collaboration- Breaking Down Silos</vt:lpstr>
      <vt:lpstr>Innovation- Doing Things Differently </vt:lpstr>
      <vt:lpstr>Global Context – Playing on the World Stage</vt:lpstr>
      <vt:lpstr>Call to Action</vt:lpstr>
      <vt:lpstr>A shared Vision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ittany Frankland</dc:creator>
  <cp:lastModifiedBy>Chris Foord</cp:lastModifiedBy>
  <cp:revision>5</cp:revision>
  <dcterms:created xsi:type="dcterms:W3CDTF">2025-09-04T01:38:23Z</dcterms:created>
  <dcterms:modified xsi:type="dcterms:W3CDTF">2025-09-08T18:3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3C9D7C2CACC841BE281800B7245C55</vt:lpwstr>
  </property>
  <property fmtid="{D5CDD505-2E9C-101B-9397-08002B2CF9AE}" pid="3" name="TaxKeyword">
    <vt:lpwstr/>
  </property>
  <property fmtid="{D5CDD505-2E9C-101B-9397-08002B2CF9AE}" pid="4" name="MediaServiceImageTags">
    <vt:lpwstr/>
  </property>
</Properties>
</file>